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Ex2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8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19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0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1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2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3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4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5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s/slide40.xml" ContentType="application/vnd.openxmlformats-officedocument.presentationml.slide+xml"/>
  <Override PartName="/ppt/slides/slide50.xml" ContentType="application/vnd.openxmlformats-officedocument.presentationml.slide+xml"/>
  <Override PartName="/ppt/slides/slide60.xml" ContentType="application/vnd.openxmlformats-officedocument.presentationml.slide+xml"/>
  <Override PartName="/ppt/slides/slide70.xml" ContentType="application/vnd.openxmlformats-officedocument.presentationml.slide+xml"/>
  <Override PartName="/ppt/charts/chart60.xml" ContentType="application/vnd.openxmlformats-officedocument.drawingml.chart+xml"/>
  <Override PartName="/ppt/charts/chart80.xml" ContentType="application/vnd.openxmlformats-officedocument.drawingml.chart+xml"/>
  <Override PartName="/ppt/charts/chart50.xml" ContentType="application/vnd.openxmlformats-officedocument.drawingml.chart+xml"/>
  <Override PartName="/ppt/slideLayouts/slideLayout70.xml" ContentType="application/vnd.openxmlformats-officedocument.presentationml.slideLayout+xml"/>
  <Override PartName="/ppt/charts/chartEx20.xml" ContentType="application/vnd.ms-office.chartex+xml"/>
  <Override PartName="/ppt/charts/chart70.xml" ContentType="application/vnd.openxmlformats-officedocument.drawingml.chart+xml"/>
  <Override PartName="/ppt/charts/chart100.xml" ContentType="application/vnd.openxmlformats-officedocument.drawingml.chart+xml"/>
  <Override PartName="/ppt/charts/chart90.xml" ContentType="application/vnd.openxmlformats-officedocument.drawingml.chart+xml"/>
  <Override PartName="/ppt/charts/chart120.xml" ContentType="application/vnd.openxmlformats-officedocument.drawingml.chart+xml"/>
  <Override PartName="/ppt/charts/chart111.xml" ContentType="application/vnd.openxmlformats-officedocument.drawingml.chart+xml"/>
  <Override PartName="/ppt/charts/chart140.xml" ContentType="application/vnd.openxmlformats-officedocument.drawingml.chart+xml"/>
  <Override PartName="/ppt/charts/chart130.xml" ContentType="application/vnd.openxmlformats-officedocument.drawingml.chart+xml"/>
  <Override PartName="/ppt/charts/chart160.xml" ContentType="application/vnd.openxmlformats-officedocument.drawingml.chart+xml"/>
  <Override PartName="/ppt/charts/chart150.xml" ContentType="application/vnd.openxmlformats-officedocument.drawingml.chart+xml"/>
  <Override PartName="/ppt/charts/chart230.xml" ContentType="application/vnd.openxmlformats-officedocument.drawingml.chart+xml"/>
  <Override PartName="/ppt/charts/chart180.xml" ContentType="application/vnd.openxmlformats-officedocument.drawingml.chart+xml"/>
  <Override PartName="/ppt/charts/chart220.xml" ContentType="application/vnd.openxmlformats-officedocument.drawingml.chart+xml"/>
  <Override PartName="/ppt/charts/chart170.xml" ContentType="application/vnd.openxmlformats-officedocument.drawingml.chart+xml"/>
  <Override PartName="/ppt/charts/chart210.xml" ContentType="application/vnd.openxmlformats-officedocument.drawingml.chart+xml"/>
  <Override PartName="/ppt/charts/chart200.xml" ContentType="application/vnd.openxmlformats-officedocument.drawingml.chart+xml"/>
  <Override PartName="/ppt/charts/chart250.xml" ContentType="application/vnd.openxmlformats-officedocument.drawingml.chart+xml"/>
  <Override PartName="/ppt/charts/chart190.xml" ContentType="application/vnd.openxmlformats-officedocument.drawingml.chart+xml"/>
  <Override PartName="/ppt/charts/chart240.xml" ContentType="application/vnd.openxmlformats-officedocument.drawingml.chart+xml"/>
  <Override PartName="/ppt/charts/colors60.xml" ContentType="application/vnd.ms-office.chartcolorstyle+xml"/>
  <Override PartName="/ppt/charts/style60.xml" ContentType="application/vnd.ms-office.chartstyle+xml"/>
  <Override PartName="/ppt/charts/colors90.xml" ContentType="application/vnd.ms-office.chartcolorstyle+xml"/>
  <Override PartName="/ppt/charts/style90.xml" ContentType="application/vnd.ms-office.chartstyle+xml"/>
  <Override PartName="/ppt/charts/colors50.xml" ContentType="application/vnd.ms-office.chartcolorstyle+xml"/>
  <Override PartName="/ppt/charts/style50.xml" ContentType="application/vnd.ms-office.chartstyle+xml"/>
  <Override PartName="/ppt/slideMasters/slideMaster10.xml" ContentType="application/vnd.openxmlformats-officedocument.presentationml.slideMaster+xml"/>
  <Override PartName="/ppt/charts/colors80.xml" ContentType="application/vnd.ms-office.chartcolorstyle+xml"/>
  <Override PartName="/ppt/charts/style80.xml" ContentType="application/vnd.ms-office.chartstyle+xml"/>
  <Override PartName="/ppt/charts/colors70.xml" ContentType="application/vnd.ms-office.chartcolorstyle+xml"/>
  <Override PartName="/ppt/charts/style70.xml" ContentType="application/vnd.ms-office.chartstyle+xml"/>
  <Override PartName="/ppt/charts/colors111.xml" ContentType="application/vnd.ms-office.chartcolorstyle+xml"/>
  <Override PartName="/ppt/charts/style111.xml" ContentType="application/vnd.ms-office.chartstyle+xml"/>
  <Override PartName="/ppt/charts/colors100.xml" ContentType="application/vnd.ms-office.chartcolorstyle+xml"/>
  <Override PartName="/ppt/charts/style100.xml" ContentType="application/vnd.ms-office.chartstyle+xml"/>
  <Override PartName="/ppt/charts/colors130.xml" ContentType="application/vnd.ms-office.chartcolorstyle+xml"/>
  <Override PartName="/ppt/charts/style130.xml" ContentType="application/vnd.ms-office.chartstyle+xml"/>
  <Override PartName="/ppt/charts/colors120.xml" ContentType="application/vnd.ms-office.chartcolorstyle+xml"/>
  <Override PartName="/ppt/charts/style120.xml" ContentType="application/vnd.ms-office.chartstyle+xml"/>
  <Override PartName="/ppt/charts/colors150.xml" ContentType="application/vnd.ms-office.chartcolorstyle+xml"/>
  <Override PartName="/ppt/charts/style150.xml" ContentType="application/vnd.ms-office.chartstyle+xml"/>
  <Override PartName="/ppt/charts/colors140.xml" ContentType="application/vnd.ms-office.chartcolorstyle+xml"/>
  <Override PartName="/ppt/charts/style140.xml" ContentType="application/vnd.ms-office.chartstyle+xml"/>
  <Override PartName="/ppt/charts/colors170.xml" ContentType="application/vnd.ms-office.chartcolorstyle+xml"/>
  <Override PartName="/ppt/charts/style170.xml" ContentType="application/vnd.ms-office.chartstyle+xml"/>
  <Override PartName="/ppt/charts/colors160.xml" ContentType="application/vnd.ms-office.chartcolorstyle+xml"/>
  <Override PartName="/ppt/charts/style160.xml" ContentType="application/vnd.ms-office.chartstyle+xml"/>
  <Override PartName="/ppt/charts/colors240.xml" ContentType="application/vnd.ms-office.chartcolorstyle+xml"/>
  <Override PartName="/ppt/charts/style240.xml" ContentType="application/vnd.ms-office.chartstyle+xml"/>
  <Override PartName="/ppt/charts/colors190.xml" ContentType="application/vnd.ms-office.chartcolorstyle+xml"/>
  <Override PartName="/ppt/charts/style190.xml" ContentType="application/vnd.ms-office.chartstyle+xml"/>
  <Override PartName="/ppt/charts/colors230.xml" ContentType="application/vnd.ms-office.chartcolorstyle+xml"/>
  <Override PartName="/ppt/charts/style230.xml" ContentType="application/vnd.ms-office.chartstyle+xml"/>
  <Override PartName="/ppt/charts/colors180.xml" ContentType="application/vnd.ms-office.chartcolorstyle+xml"/>
  <Override PartName="/ppt/charts/style180.xml" ContentType="application/vnd.ms-office.chartstyle+xml"/>
  <Override PartName="/ppt/charts/colors220.xml" ContentType="application/vnd.ms-office.chartcolorstyle+xml"/>
  <Override PartName="/ppt/charts/style220.xml" ContentType="application/vnd.ms-office.chartstyle+xml"/>
  <Override PartName="/ppt/charts/colors210.xml" ContentType="application/vnd.ms-office.chartcolorstyle+xml"/>
  <Override PartName="/ppt/charts/style210.xml" ContentType="application/vnd.ms-office.chartstyle+xml"/>
  <Override PartName="/ppt/charts/colors260.xml" ContentType="application/vnd.ms-office.chartcolorstyle+xml"/>
  <Override PartName="/ppt/charts/style260.xml" ContentType="application/vnd.ms-office.chartstyle+xml"/>
  <Override PartName="/ppt/charts/colors200.xml" ContentType="application/vnd.ms-office.chartcolorstyle+xml"/>
  <Override PartName="/ppt/charts/style200.xml" ContentType="application/vnd.ms-office.chartstyle+xml"/>
  <Override PartName="/ppt/charts/colors250.xml" ContentType="application/vnd.ms-office.chartcolorstyle+xml"/>
  <Override PartName="/ppt/charts/style250.xml" ContentType="application/vnd.ms-office.chartstyle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slideLayouts/slideLayout37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9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69" r:id="rId2"/>
  </p:sldMasterIdLst>
  <p:notesMasterIdLst>
    <p:notesMasterId r:id="rId22"/>
  </p:notesMasterIdLst>
  <p:sldIdLst>
    <p:sldId id="316" r:id="rId3"/>
    <p:sldId id="321" r:id="rId4"/>
    <p:sldId id="322" r:id="rId5"/>
    <p:sldId id="323" r:id="rId6"/>
    <p:sldId id="324" r:id="rId7"/>
    <p:sldId id="328" r:id="rId8"/>
    <p:sldId id="326" r:id="rId9"/>
    <p:sldId id="301" r:id="rId10"/>
    <p:sldId id="289" r:id="rId11"/>
    <p:sldId id="296" r:id="rId12"/>
    <p:sldId id="297" r:id="rId13"/>
    <p:sldId id="298" r:id="rId14"/>
    <p:sldId id="299" r:id="rId15"/>
    <p:sldId id="302" r:id="rId16"/>
    <p:sldId id="303" r:id="rId17"/>
    <p:sldId id="331" r:id="rId18"/>
    <p:sldId id="330" r:id="rId19"/>
    <p:sldId id="325" r:id="rId20"/>
    <p:sldId id="319" r:id="rId21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libri Light" panose="020F0302020204030204" pitchFamily="34" charset="0"/>
      <p:regular r:id="rId27"/>
      <p:italic r:id="rId28"/>
    </p:embeddedFont>
    <p:embeddedFont>
      <p:font typeface="Poppins" panose="00000500000000000000" pitchFamily="2" charset="0"/>
      <p:regular r:id="rId29"/>
      <p:bold r:id="rId30"/>
      <p:italic r:id="rId31"/>
      <p:boldItalic r:id="rId32"/>
    </p:embeddedFont>
    <p:embeddedFont>
      <p:font typeface="Poppins Light" panose="00000400000000000000" pitchFamily="2" charset="0"/>
      <p:regular r:id="rId33"/>
      <p:italic r:id="rId34"/>
    </p:embeddedFont>
    <p:embeddedFont>
      <p:font typeface="Segoe UI Black" panose="020B0A02040204020203" pitchFamily="34" charset="0"/>
      <p:bold r:id="rId35"/>
      <p:boldItalic r:id="rId36"/>
    </p:embeddedFont>
    <p:embeddedFont>
      <p:font typeface="Wingdings 3" panose="05040102010807070707" pitchFamily="18" charset="2"/>
      <p:regular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378FF"/>
    <a:srgbClr val="E8EDF3"/>
    <a:srgbClr val="990033"/>
    <a:srgbClr val="E2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7" autoAdjust="0"/>
    <p:restoredTop sz="94660"/>
  </p:normalViewPr>
  <p:slideViewPr>
    <p:cSldViewPr snapToGrid="0">
      <p:cViewPr varScale="1">
        <p:scale>
          <a:sx n="83" d="100"/>
          <a:sy n="83" d="100"/>
        </p:scale>
        <p:origin x="76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4.fntdata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font" Target="fonts/font12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7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9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120.xml"/><Relationship Id="rId1" Type="http://schemas.microsoft.com/office/2011/relationships/chartStyle" Target="style12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0.xlsx"/><Relationship Id="rId2" Type="http://schemas.microsoft.com/office/2011/relationships/chartColorStyle" Target="colors130.xml"/><Relationship Id="rId1" Type="http://schemas.microsoft.com/office/2011/relationships/chartStyle" Target="style13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0.xlsx"/><Relationship Id="rId2" Type="http://schemas.microsoft.com/office/2011/relationships/chartColorStyle" Target="colors140.xml"/><Relationship Id="rId1" Type="http://schemas.microsoft.com/office/2011/relationships/chartStyle" Target="style14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0.xlsx"/><Relationship Id="rId2" Type="http://schemas.microsoft.com/office/2011/relationships/chartColorStyle" Target="colors150.xml"/><Relationship Id="rId1" Type="http://schemas.microsoft.com/office/2011/relationships/chartStyle" Target="style15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0.xlsx"/><Relationship Id="rId2" Type="http://schemas.microsoft.com/office/2011/relationships/chartColorStyle" Target="colors160.xml"/><Relationship Id="rId1" Type="http://schemas.microsoft.com/office/2011/relationships/chartStyle" Target="style160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0.xlsx"/><Relationship Id="rId2" Type="http://schemas.microsoft.com/office/2011/relationships/chartColorStyle" Target="colors170.xml"/><Relationship Id="rId1" Type="http://schemas.microsoft.com/office/2011/relationships/chartStyle" Target="style17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0.xlsx"/><Relationship Id="rId2" Type="http://schemas.microsoft.com/office/2011/relationships/chartColorStyle" Target="colors180.xml"/><Relationship Id="rId1" Type="http://schemas.microsoft.com/office/2011/relationships/chartStyle" Target="style180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1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0.xlsx"/><Relationship Id="rId2" Type="http://schemas.microsoft.com/office/2011/relationships/chartColorStyle" Target="colors190.xml"/><Relationship Id="rId1" Type="http://schemas.microsoft.com/office/2011/relationships/chartStyle" Target="style190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1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0.xlsx"/><Relationship Id="rId2" Type="http://schemas.microsoft.com/office/2011/relationships/chartColorStyle" Target="colors200.xml"/><Relationship Id="rId1" Type="http://schemas.microsoft.com/office/2011/relationships/chartStyle" Target="style20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0.xlsx"/><Relationship Id="rId2" Type="http://schemas.microsoft.com/office/2011/relationships/chartColorStyle" Target="colors210.xml"/><Relationship Id="rId1" Type="http://schemas.microsoft.com/office/2011/relationships/chartStyle" Target="style21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0.xlsx"/><Relationship Id="rId2" Type="http://schemas.microsoft.com/office/2011/relationships/chartColorStyle" Target="colors220.xml"/><Relationship Id="rId1" Type="http://schemas.microsoft.com/office/2011/relationships/chartStyle" Target="style2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0.xlsx"/><Relationship Id="rId2" Type="http://schemas.microsoft.com/office/2011/relationships/chartColorStyle" Target="colors230.xml"/><Relationship Id="rId1" Type="http://schemas.microsoft.com/office/2011/relationships/chartStyle" Target="style23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0.xlsx"/><Relationship Id="rId2" Type="http://schemas.microsoft.com/office/2011/relationships/chartColorStyle" Target="colors240.xml"/><Relationship Id="rId1" Type="http://schemas.microsoft.com/office/2011/relationships/chartStyle" Target="style24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0.xlsx"/><Relationship Id="rId2" Type="http://schemas.microsoft.com/office/2011/relationships/chartColorStyle" Target="colors250.xml"/><Relationship Id="rId1" Type="http://schemas.microsoft.com/office/2011/relationships/chartStyle" Target="style250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5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60.xml"/><Relationship Id="rId1" Type="http://schemas.microsoft.com/office/2011/relationships/chartStyle" Target="style260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8.xlsx"/></Relationships>
</file>

<file path=ppt/charts/_rels/chartEx20.xml.rels><?xml version="1.0" encoding="UTF-8" standalone="yes"?>
<Relationships xmlns="http://schemas.openxmlformats.org/package/2006/relationships"><Relationship Id="rId3" Type="http://schemas.microsoft.com/office/2011/relationships/chartColorStyle" Target="colors80.xml"/><Relationship Id="rId2" Type="http://schemas.microsoft.com/office/2011/relationships/chartStyle" Target="style80.xml"/><Relationship Id="rId1" Type="http://schemas.openxmlformats.org/officeDocument/2006/relationships/package" Target="../embeddings/Microsoft_Excel_Worksheet80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55</c:f>
              <c:numCache>
                <c:formatCode>General</c:formatCode>
                <c:ptCount val="54"/>
                <c:pt idx="0">
                  <c:v>0.4</c:v>
                </c:pt>
                <c:pt idx="1">
                  <c:v>0.37</c:v>
                </c:pt>
                <c:pt idx="2">
                  <c:v>0.96</c:v>
                </c:pt>
                <c:pt idx="3">
                  <c:v>0.97</c:v>
                </c:pt>
                <c:pt idx="4">
                  <c:v>1.29</c:v>
                </c:pt>
                <c:pt idx="5">
                  <c:v>0.92</c:v>
                </c:pt>
                <c:pt idx="6">
                  <c:v>1.19</c:v>
                </c:pt>
                <c:pt idx="7">
                  <c:v>0.84</c:v>
                </c:pt>
                <c:pt idx="8">
                  <c:v>0.89</c:v>
                </c:pt>
                <c:pt idx="9">
                  <c:v>0.66</c:v>
                </c:pt>
                <c:pt idx="10">
                  <c:v>1.28</c:v>
                </c:pt>
                <c:pt idx="11">
                  <c:v>0.64</c:v>
                </c:pt>
                <c:pt idx="12">
                  <c:v>0.64</c:v>
                </c:pt>
                <c:pt idx="13">
                  <c:v>0.64</c:v>
                </c:pt>
                <c:pt idx="14">
                  <c:v>0.79</c:v>
                </c:pt>
                <c:pt idx="15">
                  <c:v>0.79</c:v>
                </c:pt>
                <c:pt idx="16">
                  <c:v>0.79</c:v>
                </c:pt>
                <c:pt idx="17">
                  <c:v>0.95</c:v>
                </c:pt>
                <c:pt idx="18">
                  <c:v>0.98</c:v>
                </c:pt>
                <c:pt idx="19">
                  <c:v>0.98</c:v>
                </c:pt>
                <c:pt idx="20">
                  <c:v>0.98</c:v>
                </c:pt>
                <c:pt idx="21">
                  <c:v>0.96</c:v>
                </c:pt>
                <c:pt idx="22">
                  <c:v>0.96</c:v>
                </c:pt>
                <c:pt idx="23">
                  <c:v>0.96</c:v>
                </c:pt>
                <c:pt idx="24">
                  <c:v>0.75</c:v>
                </c:pt>
                <c:pt idx="25">
                  <c:v>0.86</c:v>
                </c:pt>
                <c:pt idx="26">
                  <c:v>0.94</c:v>
                </c:pt>
                <c:pt idx="27">
                  <c:v>0.89</c:v>
                </c:pt>
                <c:pt idx="28">
                  <c:v>0.92</c:v>
                </c:pt>
                <c:pt idx="29">
                  <c:v>0.92</c:v>
                </c:pt>
                <c:pt idx="30">
                  <c:v>0.92</c:v>
                </c:pt>
                <c:pt idx="31">
                  <c:v>1.05</c:v>
                </c:pt>
                <c:pt idx="32">
                  <c:v>0.63</c:v>
                </c:pt>
                <c:pt idx="33">
                  <c:v>0.63</c:v>
                </c:pt>
                <c:pt idx="34">
                  <c:v>0.63</c:v>
                </c:pt>
                <c:pt idx="35">
                  <c:v>0.71</c:v>
                </c:pt>
                <c:pt idx="36">
                  <c:v>0.87</c:v>
                </c:pt>
                <c:pt idx="37">
                  <c:v>0.78</c:v>
                </c:pt>
                <c:pt idx="38">
                  <c:v>0.78</c:v>
                </c:pt>
                <c:pt idx="39">
                  <c:v>0.78</c:v>
                </c:pt>
                <c:pt idx="40">
                  <c:v>0.63</c:v>
                </c:pt>
                <c:pt idx="41">
                  <c:v>0.67</c:v>
                </c:pt>
                <c:pt idx="42">
                  <c:v>0.67</c:v>
                </c:pt>
                <c:pt idx="43">
                  <c:v>0.67</c:v>
                </c:pt>
                <c:pt idx="44">
                  <c:v>0.56000000000000005</c:v>
                </c:pt>
                <c:pt idx="45">
                  <c:v>0.82</c:v>
                </c:pt>
                <c:pt idx="46">
                  <c:v>0.62</c:v>
                </c:pt>
                <c:pt idx="47">
                  <c:v>0.45</c:v>
                </c:pt>
                <c:pt idx="48">
                  <c:v>0.45</c:v>
                </c:pt>
                <c:pt idx="49">
                  <c:v>0.45</c:v>
                </c:pt>
                <c:pt idx="50">
                  <c:v>0.76</c:v>
                </c:pt>
                <c:pt idx="51">
                  <c:v>0.72</c:v>
                </c:pt>
                <c:pt idx="52">
                  <c:v>0.61</c:v>
                </c:pt>
                <c:pt idx="53">
                  <c:v>0.54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6</c:v>
                </c:pt>
                <c:pt idx="1">
                  <c:v>0.95</c:v>
                </c:pt>
                <c:pt idx="2">
                  <c:v>0.69</c:v>
                </c:pt>
                <c:pt idx="3">
                  <c:v>0.83</c:v>
                </c:pt>
                <c:pt idx="4">
                  <c:v>0.8</c:v>
                </c:pt>
                <c:pt idx="5">
                  <c:v>0.72</c:v>
                </c:pt>
                <c:pt idx="6">
                  <c:v>0.84</c:v>
                </c:pt>
                <c:pt idx="7">
                  <c:v>0.77</c:v>
                </c:pt>
                <c:pt idx="8">
                  <c:v>0.98</c:v>
                </c:pt>
                <c:pt idx="9">
                  <c:v>0.77</c:v>
                </c:pt>
                <c:pt idx="10">
                  <c:v>1.19</c:v>
                </c:pt>
                <c:pt idx="11">
                  <c:v>0.84</c:v>
                </c:pt>
                <c:pt idx="12">
                  <c:v>0.78</c:v>
                </c:pt>
                <c:pt idx="13">
                  <c:v>0.91</c:v>
                </c:pt>
                <c:pt idx="14">
                  <c:v>0.78</c:v>
                </c:pt>
                <c:pt idx="15">
                  <c:v>0.78</c:v>
                </c:pt>
                <c:pt idx="16">
                  <c:v>0.78</c:v>
                </c:pt>
                <c:pt idx="17">
                  <c:v>0.8</c:v>
                </c:pt>
                <c:pt idx="18">
                  <c:v>0.6</c:v>
                </c:pt>
                <c:pt idx="19">
                  <c:v>0.6</c:v>
                </c:pt>
                <c:pt idx="20">
                  <c:v>0.6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71</c:v>
                </c:pt>
                <c:pt idx="25">
                  <c:v>0.74</c:v>
                </c:pt>
                <c:pt idx="26">
                  <c:v>0.47</c:v>
                </c:pt>
                <c:pt idx="27">
                  <c:v>0.83</c:v>
                </c:pt>
                <c:pt idx="28">
                  <c:v>0.57999999999999996</c:v>
                </c:pt>
                <c:pt idx="29">
                  <c:v>0.57999999999999996</c:v>
                </c:pt>
                <c:pt idx="30">
                  <c:v>0.57999999999999996</c:v>
                </c:pt>
                <c:pt idx="31">
                  <c:v>0.62</c:v>
                </c:pt>
                <c:pt idx="32">
                  <c:v>0.51</c:v>
                </c:pt>
                <c:pt idx="33">
                  <c:v>0.51</c:v>
                </c:pt>
                <c:pt idx="34">
                  <c:v>0.51</c:v>
                </c:pt>
                <c:pt idx="35">
                  <c:v>0.76</c:v>
                </c:pt>
                <c:pt idx="36">
                  <c:v>0.79</c:v>
                </c:pt>
                <c:pt idx="37">
                  <c:v>0.62</c:v>
                </c:pt>
                <c:pt idx="38">
                  <c:v>0.75</c:v>
                </c:pt>
                <c:pt idx="39">
                  <c:v>0.75</c:v>
                </c:pt>
                <c:pt idx="40">
                  <c:v>0.84</c:v>
                </c:pt>
                <c:pt idx="41">
                  <c:v>0.66</c:v>
                </c:pt>
                <c:pt idx="42">
                  <c:v>0.62</c:v>
                </c:pt>
                <c:pt idx="43">
                  <c:v>0.59</c:v>
                </c:pt>
                <c:pt idx="44">
                  <c:v>0.71</c:v>
                </c:pt>
                <c:pt idx="45">
                  <c:v>0.85</c:v>
                </c:pt>
                <c:pt idx="46">
                  <c:v>0.57999999999999996</c:v>
                </c:pt>
                <c:pt idx="47">
                  <c:v>0.47</c:v>
                </c:pt>
                <c:pt idx="48">
                  <c:v>0.63</c:v>
                </c:pt>
                <c:pt idx="49">
                  <c:v>1.55</c:v>
                </c:pt>
                <c:pt idx="50">
                  <c:v>0.94</c:v>
                </c:pt>
                <c:pt idx="51">
                  <c:v>0.57999999999999996</c:v>
                </c:pt>
                <c:pt idx="52">
                  <c:v>0.69</c:v>
                </c:pt>
                <c:pt idx="53">
                  <c:v>0.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FAE-4D9F-ADFE-B01174B13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7524864"/>
        <c:axId val="-2127520288"/>
      </c:scatterChart>
      <c:valAx>
        <c:axId val="-2127524864"/>
        <c:scaling>
          <c:orientation val="minMax"/>
          <c:max val="1.4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20288"/>
        <c:crosses val="autoZero"/>
        <c:crossBetween val="midCat"/>
        <c:majorUnit val="0.2"/>
        <c:minorUnit val="0.01"/>
      </c:valAx>
      <c:valAx>
        <c:axId val="-2127520288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248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E-45A8-8862-77410E0823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E-45A8-8862-77410E0823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8E-45A8-8862-77410E0823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2143617488"/>
        <c:axId val="2143620976"/>
      </c:barChart>
      <c:catAx>
        <c:axId val="2143617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3620976"/>
        <c:crosses val="autoZero"/>
        <c:auto val="1"/>
        <c:lblAlgn val="ctr"/>
        <c:lblOffset val="100"/>
        <c:noMultiLvlLbl val="0"/>
      </c:catAx>
      <c:valAx>
        <c:axId val="2143620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61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E-45A8-8862-77410E0823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E-45A8-8862-77410E0823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8E-45A8-8862-77410E0823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2143617488"/>
        <c:axId val="2143620976"/>
      </c:barChart>
      <c:catAx>
        <c:axId val="2143617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3620976"/>
        <c:crosses val="autoZero"/>
        <c:auto val="1"/>
        <c:lblAlgn val="ctr"/>
        <c:lblOffset val="100"/>
        <c:noMultiLvlLbl val="0"/>
      </c:catAx>
      <c:valAx>
        <c:axId val="2143620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61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8-40F6-9700-39B1970B20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-2127459920"/>
        <c:axId val="-2127455920"/>
      </c:barChart>
      <c:catAx>
        <c:axId val="-212745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27455920"/>
        <c:crosses val="autoZero"/>
        <c:auto val="1"/>
        <c:lblAlgn val="ctr"/>
        <c:lblOffset val="100"/>
        <c:noMultiLvlLbl val="0"/>
      </c:catAx>
      <c:valAx>
        <c:axId val="-2127455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45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8-40F6-9700-39B1970B20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 w="9525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-2127459920"/>
        <c:axId val="-2127455920"/>
      </c:barChart>
      <c:catAx>
        <c:axId val="-212745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27455920"/>
        <c:crosses val="autoZero"/>
        <c:auto val="1"/>
        <c:lblAlgn val="ctr"/>
        <c:lblOffset val="100"/>
        <c:noMultiLvlLbl val="0"/>
      </c:catAx>
      <c:valAx>
        <c:axId val="-2127455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45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A-4742-9A5A-28449F0ECF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A-4742-9A5A-28449F0EC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3264992"/>
        <c:axId val="2053369952"/>
      </c:areaChart>
      <c:dateAx>
        <c:axId val="2053264992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369952"/>
        <c:crosses val="autoZero"/>
        <c:auto val="1"/>
        <c:lblOffset val="100"/>
        <c:baseTimeUnit val="months"/>
      </c:dateAx>
      <c:valAx>
        <c:axId val="205336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264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A-4742-9A5A-28449F0ECF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A-4742-9A5A-28449F0EC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3264992"/>
        <c:axId val="2053369952"/>
      </c:areaChart>
      <c:dateAx>
        <c:axId val="2053264992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369952"/>
        <c:crosses val="autoZero"/>
        <c:auto val="1"/>
        <c:lblOffset val="100"/>
        <c:baseTimeUnit val="months"/>
      </c:dateAx>
      <c:valAx>
        <c:axId val="205336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264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697952"/>
        <c:axId val="2053682752"/>
      </c:lineChart>
      <c:catAx>
        <c:axId val="2053697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3682752"/>
        <c:crosses val="autoZero"/>
        <c:auto val="1"/>
        <c:lblAlgn val="ctr"/>
        <c:lblOffset val="100"/>
        <c:noMultiLvlLbl val="0"/>
      </c:catAx>
      <c:valAx>
        <c:axId val="20536827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69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8-40F6-9700-39B1970B20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697952"/>
        <c:axId val="2053682752"/>
      </c:lineChart>
      <c:catAx>
        <c:axId val="2053697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3682752"/>
        <c:crosses val="autoZero"/>
        <c:auto val="1"/>
        <c:lblAlgn val="ctr"/>
        <c:lblOffset val="100"/>
        <c:noMultiLvlLbl val="0"/>
      </c:catAx>
      <c:valAx>
        <c:axId val="20536827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69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55416740813E-2"/>
          <c:y val="5.9426906818865401E-2"/>
          <c:w val="0.94982214506922202"/>
          <c:h val="0.80598880289877395"/>
        </c:manualLayout>
      </c:layout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chemeClr val="accent2">
                  <a:shade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B4F-408E-B125-359116305433}"/>
            </c:ext>
          </c:extLst>
        </c:ser>
        <c:ser>
          <c:idx val="1"/>
          <c:order val="1"/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6B4F-408E-B125-359116305433}"/>
            </c:ext>
          </c:extLst>
        </c:ser>
        <c:ser>
          <c:idx val="2"/>
          <c:order val="2"/>
          <c:spPr>
            <a:ln w="22225" cap="rnd" cmpd="sng" algn="ctr">
              <a:solidFill>
                <a:schemeClr val="accent2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6B4F-408E-B125-3591163054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175088"/>
        <c:axId val="2053165344"/>
      </c:lineChart>
      <c:catAx>
        <c:axId val="205317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3165344"/>
        <c:crosses val="autoZero"/>
        <c:auto val="1"/>
        <c:lblAlgn val="ctr"/>
        <c:lblOffset val="100"/>
        <c:noMultiLvlLbl val="0"/>
      </c:catAx>
      <c:valAx>
        <c:axId val="2053165344"/>
        <c:scaling>
          <c:orientation val="minMax"/>
        </c:scaling>
        <c:delete val="1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17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555416740813E-2"/>
          <c:y val="5.9426906818865401E-2"/>
          <c:w val="0.94982214506922202"/>
          <c:h val="0.80598880289877395"/>
        </c:manualLayout>
      </c:layout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chemeClr val="accent2">
                  <a:shade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B4F-408E-B125-359116305433}"/>
            </c:ext>
          </c:extLst>
        </c:ser>
        <c:ser>
          <c:idx val="1"/>
          <c:order val="1"/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6B4F-408E-B125-359116305433}"/>
            </c:ext>
          </c:extLst>
        </c:ser>
        <c:ser>
          <c:idx val="2"/>
          <c:order val="2"/>
          <c:spPr>
            <a:ln w="22225" cap="rnd" cmpd="sng" algn="ctr">
              <a:solidFill>
                <a:schemeClr val="accent2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6B4F-408E-B125-3591163054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3175088"/>
        <c:axId val="2053165344"/>
      </c:lineChart>
      <c:catAx>
        <c:axId val="205317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53165344"/>
        <c:crosses val="autoZero"/>
        <c:auto val="1"/>
        <c:lblAlgn val="ctr"/>
        <c:lblOffset val="100"/>
        <c:noMultiLvlLbl val="0"/>
      </c:catAx>
      <c:valAx>
        <c:axId val="2053165344"/>
        <c:scaling>
          <c:orientation val="minMax"/>
        </c:scaling>
        <c:delete val="1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5317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40951200"/>
        <c:axId val="2140955120"/>
      </c:barChart>
      <c:catAx>
        <c:axId val="2140951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40955120"/>
        <c:crosses val="autoZero"/>
        <c:auto val="1"/>
        <c:lblAlgn val="ctr"/>
        <c:lblOffset val="100"/>
        <c:noMultiLvlLbl val="0"/>
      </c:catAx>
      <c:valAx>
        <c:axId val="21409551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95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40951200"/>
        <c:axId val="2140955120"/>
      </c:barChart>
      <c:catAx>
        <c:axId val="2140951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40955120"/>
        <c:crosses val="autoZero"/>
        <c:auto val="1"/>
        <c:lblAlgn val="ctr"/>
        <c:lblOffset val="100"/>
        <c:noMultiLvlLbl val="0"/>
      </c:catAx>
      <c:valAx>
        <c:axId val="21409551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95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41398147888002"/>
          <c:y val="6.1011858633243397E-2"/>
          <c:w val="0.37384225326924098"/>
          <c:h val="0.79049173891030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7-48D5-8EF0-67DB8D59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8567936"/>
        <c:axId val="2144284880"/>
      </c:radarChart>
      <c:catAx>
        <c:axId val="-2128567936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84880"/>
        <c:crosses val="autoZero"/>
        <c:auto val="1"/>
        <c:lblAlgn val="ctr"/>
        <c:lblOffset val="100"/>
        <c:noMultiLvlLbl val="0"/>
      </c:catAx>
      <c:valAx>
        <c:axId val="2144284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12856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41398147888002"/>
          <c:y val="6.1011858633243397E-2"/>
          <c:w val="0.37384225326924098"/>
          <c:h val="0.790491738910301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7-48D5-8EF0-67DB8D59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8567936"/>
        <c:axId val="2144284880"/>
      </c:radarChart>
      <c:catAx>
        <c:axId val="-2128567936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84880"/>
        <c:crosses val="autoZero"/>
        <c:auto val="1"/>
        <c:lblAlgn val="ctr"/>
        <c:lblOffset val="100"/>
        <c:noMultiLvlLbl val="0"/>
      </c:catAx>
      <c:valAx>
        <c:axId val="2144284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12856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39123712"/>
        <c:axId val="2054060160"/>
      </c:barChart>
      <c:catAx>
        <c:axId val="2139123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54060160"/>
        <c:crosses val="autoZero"/>
        <c:auto val="1"/>
        <c:lblAlgn val="ctr"/>
        <c:lblOffset val="100"/>
        <c:noMultiLvlLbl val="0"/>
      </c:catAx>
      <c:valAx>
        <c:axId val="2054060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9123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4DE-491F-9E03-439849BB8A72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54DE-491F-9E03-439849BB8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139123712"/>
        <c:axId val="2054060160"/>
      </c:barChart>
      <c:catAx>
        <c:axId val="2139123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54060160"/>
        <c:crosses val="autoZero"/>
        <c:auto val="1"/>
        <c:lblAlgn val="ctr"/>
        <c:lblOffset val="100"/>
        <c:noMultiLvlLbl val="0"/>
      </c:catAx>
      <c:valAx>
        <c:axId val="2054060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9123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9DA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FB-4F61-90EE-B00ADE890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2101648"/>
        <c:axId val="2062047728"/>
      </c:barChart>
      <c:catAx>
        <c:axId val="2062101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047728"/>
        <c:crosses val="autoZero"/>
        <c:auto val="1"/>
        <c:lblAlgn val="ctr"/>
        <c:lblOffset val="100"/>
        <c:noMultiLvlLbl val="0"/>
      </c:catAx>
      <c:valAx>
        <c:axId val="20620477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1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9DA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FB-4F61-90EE-B00ADE890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2101648"/>
        <c:axId val="2062047728"/>
      </c:barChart>
      <c:catAx>
        <c:axId val="2062101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047728"/>
        <c:crosses val="autoZero"/>
        <c:auto val="1"/>
        <c:lblAlgn val="ctr"/>
        <c:lblOffset val="100"/>
        <c:noMultiLvlLbl val="0"/>
      </c:catAx>
      <c:valAx>
        <c:axId val="20620477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1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4C7C9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4-49B5-9AF0-8AAE79D59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1818752"/>
        <c:axId val="2061886800"/>
      </c:barChart>
      <c:catAx>
        <c:axId val="2061818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886800"/>
        <c:crosses val="autoZero"/>
        <c:auto val="1"/>
        <c:lblAlgn val="ctr"/>
        <c:lblOffset val="100"/>
        <c:noMultiLvlLbl val="0"/>
      </c:catAx>
      <c:valAx>
        <c:axId val="206188680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181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4C7C9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roy 6</c:v>
                </c:pt>
                <c:pt idx="6">
                  <c:v>Category 7</c:v>
                </c:pt>
                <c:pt idx="7">
                  <c:v>Category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4-49B5-9AF0-8AAE79D59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axId val="2061818752"/>
        <c:axId val="2061886800"/>
      </c:barChart>
      <c:catAx>
        <c:axId val="2061818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886800"/>
        <c:crosses val="autoZero"/>
        <c:auto val="1"/>
        <c:lblAlgn val="ctr"/>
        <c:lblOffset val="100"/>
        <c:noMultiLvlLbl val="0"/>
      </c:catAx>
      <c:valAx>
        <c:axId val="206188680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1818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xVal>
            <c:numRef>
              <c:f>Sheet1!$A$2:$A$55</c:f>
              <c:numCache>
                <c:formatCode>General</c:formatCode>
                <c:ptCount val="54"/>
                <c:pt idx="0">
                  <c:v>0.37</c:v>
                </c:pt>
                <c:pt idx="1">
                  <c:v>0.4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54</c:v>
                </c:pt>
                <c:pt idx="6">
                  <c:v>0.56000000000000005</c:v>
                </c:pt>
                <c:pt idx="7">
                  <c:v>0.61</c:v>
                </c:pt>
                <c:pt idx="8">
                  <c:v>0.62</c:v>
                </c:pt>
                <c:pt idx="9">
                  <c:v>0.63</c:v>
                </c:pt>
                <c:pt idx="10">
                  <c:v>0.63</c:v>
                </c:pt>
                <c:pt idx="11">
                  <c:v>0.63</c:v>
                </c:pt>
                <c:pt idx="12">
                  <c:v>0.63</c:v>
                </c:pt>
                <c:pt idx="13">
                  <c:v>0.64</c:v>
                </c:pt>
                <c:pt idx="14">
                  <c:v>0.64</c:v>
                </c:pt>
                <c:pt idx="15">
                  <c:v>0.64</c:v>
                </c:pt>
                <c:pt idx="16">
                  <c:v>0.66</c:v>
                </c:pt>
                <c:pt idx="17">
                  <c:v>0.67</c:v>
                </c:pt>
                <c:pt idx="18">
                  <c:v>0.67</c:v>
                </c:pt>
                <c:pt idx="19">
                  <c:v>0.67</c:v>
                </c:pt>
                <c:pt idx="20">
                  <c:v>0.71</c:v>
                </c:pt>
                <c:pt idx="21">
                  <c:v>0.72</c:v>
                </c:pt>
                <c:pt idx="22">
                  <c:v>0.75</c:v>
                </c:pt>
                <c:pt idx="23">
                  <c:v>0.76</c:v>
                </c:pt>
                <c:pt idx="24">
                  <c:v>0.78</c:v>
                </c:pt>
                <c:pt idx="25">
                  <c:v>0.78</c:v>
                </c:pt>
                <c:pt idx="26">
                  <c:v>0.78</c:v>
                </c:pt>
                <c:pt idx="27">
                  <c:v>0.79</c:v>
                </c:pt>
                <c:pt idx="28">
                  <c:v>0.79</c:v>
                </c:pt>
                <c:pt idx="29">
                  <c:v>0.79</c:v>
                </c:pt>
                <c:pt idx="30">
                  <c:v>0.82</c:v>
                </c:pt>
                <c:pt idx="31">
                  <c:v>0.84</c:v>
                </c:pt>
                <c:pt idx="32">
                  <c:v>0.86</c:v>
                </c:pt>
                <c:pt idx="33">
                  <c:v>0.87</c:v>
                </c:pt>
                <c:pt idx="34">
                  <c:v>0.89</c:v>
                </c:pt>
                <c:pt idx="35">
                  <c:v>0.89</c:v>
                </c:pt>
                <c:pt idx="36">
                  <c:v>0.92</c:v>
                </c:pt>
                <c:pt idx="37">
                  <c:v>0.92</c:v>
                </c:pt>
                <c:pt idx="38">
                  <c:v>0.92</c:v>
                </c:pt>
                <c:pt idx="39">
                  <c:v>0.92</c:v>
                </c:pt>
                <c:pt idx="40">
                  <c:v>0.94</c:v>
                </c:pt>
                <c:pt idx="41">
                  <c:v>0.95</c:v>
                </c:pt>
                <c:pt idx="42">
                  <c:v>0.96</c:v>
                </c:pt>
                <c:pt idx="43">
                  <c:v>0.96</c:v>
                </c:pt>
                <c:pt idx="44">
                  <c:v>0.96</c:v>
                </c:pt>
                <c:pt idx="45">
                  <c:v>0.96</c:v>
                </c:pt>
                <c:pt idx="46">
                  <c:v>0.97</c:v>
                </c:pt>
                <c:pt idx="47">
                  <c:v>0.98</c:v>
                </c:pt>
                <c:pt idx="48">
                  <c:v>0.98</c:v>
                </c:pt>
                <c:pt idx="49">
                  <c:v>0.98</c:v>
                </c:pt>
                <c:pt idx="50">
                  <c:v>1.05</c:v>
                </c:pt>
                <c:pt idx="51">
                  <c:v>1.19</c:v>
                </c:pt>
                <c:pt idx="52">
                  <c:v>1.28</c:v>
                </c:pt>
                <c:pt idx="53">
                  <c:v>1.29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5</c:v>
                </c:pt>
                <c:pt idx="1">
                  <c:v>0.96</c:v>
                </c:pt>
                <c:pt idx="2">
                  <c:v>0.47</c:v>
                </c:pt>
                <c:pt idx="3">
                  <c:v>0.63</c:v>
                </c:pt>
                <c:pt idx="4">
                  <c:v>1.55</c:v>
                </c:pt>
                <c:pt idx="5">
                  <c:v>0.51</c:v>
                </c:pt>
                <c:pt idx="6">
                  <c:v>0.71</c:v>
                </c:pt>
                <c:pt idx="7">
                  <c:v>0.69</c:v>
                </c:pt>
                <c:pt idx="8">
                  <c:v>0.57999999999999996</c:v>
                </c:pt>
                <c:pt idx="9">
                  <c:v>0.51</c:v>
                </c:pt>
                <c:pt idx="10">
                  <c:v>0.51</c:v>
                </c:pt>
                <c:pt idx="11">
                  <c:v>0.51</c:v>
                </c:pt>
                <c:pt idx="12">
                  <c:v>0.84</c:v>
                </c:pt>
                <c:pt idx="13">
                  <c:v>0.84</c:v>
                </c:pt>
                <c:pt idx="14">
                  <c:v>0.78</c:v>
                </c:pt>
                <c:pt idx="15">
                  <c:v>0.91</c:v>
                </c:pt>
                <c:pt idx="16">
                  <c:v>0.77</c:v>
                </c:pt>
                <c:pt idx="17">
                  <c:v>0.66</c:v>
                </c:pt>
                <c:pt idx="18">
                  <c:v>0.62</c:v>
                </c:pt>
                <c:pt idx="19">
                  <c:v>0.59</c:v>
                </c:pt>
                <c:pt idx="20">
                  <c:v>0.76</c:v>
                </c:pt>
                <c:pt idx="21">
                  <c:v>0.57999999999999996</c:v>
                </c:pt>
                <c:pt idx="22">
                  <c:v>0.71</c:v>
                </c:pt>
                <c:pt idx="23">
                  <c:v>0.94</c:v>
                </c:pt>
                <c:pt idx="24">
                  <c:v>0.62</c:v>
                </c:pt>
                <c:pt idx="25">
                  <c:v>0.75</c:v>
                </c:pt>
                <c:pt idx="26">
                  <c:v>0.75</c:v>
                </c:pt>
                <c:pt idx="27">
                  <c:v>0.78</c:v>
                </c:pt>
                <c:pt idx="28">
                  <c:v>0.78</c:v>
                </c:pt>
                <c:pt idx="29">
                  <c:v>0.78</c:v>
                </c:pt>
                <c:pt idx="30">
                  <c:v>0.85</c:v>
                </c:pt>
                <c:pt idx="31">
                  <c:v>0.77</c:v>
                </c:pt>
                <c:pt idx="32">
                  <c:v>0.74</c:v>
                </c:pt>
                <c:pt idx="33">
                  <c:v>0.79</c:v>
                </c:pt>
                <c:pt idx="34">
                  <c:v>0.98</c:v>
                </c:pt>
                <c:pt idx="35">
                  <c:v>0.83</c:v>
                </c:pt>
                <c:pt idx="36">
                  <c:v>0.72</c:v>
                </c:pt>
                <c:pt idx="37">
                  <c:v>0.57999999999999996</c:v>
                </c:pt>
                <c:pt idx="38">
                  <c:v>0.57999999999999996</c:v>
                </c:pt>
                <c:pt idx="39">
                  <c:v>0.57999999999999996</c:v>
                </c:pt>
                <c:pt idx="40">
                  <c:v>0.47</c:v>
                </c:pt>
                <c:pt idx="41">
                  <c:v>0.8</c:v>
                </c:pt>
                <c:pt idx="42">
                  <c:v>0.69</c:v>
                </c:pt>
                <c:pt idx="43">
                  <c:v>0.81</c:v>
                </c:pt>
                <c:pt idx="44">
                  <c:v>0.81</c:v>
                </c:pt>
                <c:pt idx="45">
                  <c:v>0.81</c:v>
                </c:pt>
                <c:pt idx="46">
                  <c:v>0.83</c:v>
                </c:pt>
                <c:pt idx="47">
                  <c:v>0.6</c:v>
                </c:pt>
                <c:pt idx="48">
                  <c:v>0.6</c:v>
                </c:pt>
                <c:pt idx="49">
                  <c:v>0.6</c:v>
                </c:pt>
                <c:pt idx="50">
                  <c:v>0.62</c:v>
                </c:pt>
                <c:pt idx="51">
                  <c:v>0.84</c:v>
                </c:pt>
                <c:pt idx="52">
                  <c:v>1.19</c:v>
                </c:pt>
                <c:pt idx="53">
                  <c:v>0.8</c:v>
                </c:pt>
              </c:numCache>
            </c:numRef>
          </c:yVal>
          <c:bubbleSize>
            <c:numRef>
              <c:f>Sheet1!$C$2:$C$55</c:f>
              <c:numCache>
                <c:formatCode>General</c:formatCode>
                <c:ptCount val="54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7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2</c:v>
                </c:pt>
                <c:pt idx="52">
                  <c:v>12</c:v>
                </c:pt>
                <c:pt idx="53">
                  <c:v>2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261C-4579-B7B2-C629EECD9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-2126975056"/>
        <c:axId val="-2127552832"/>
      </c:bubbleChart>
      <c:valAx>
        <c:axId val="-2126975056"/>
        <c:scaling>
          <c:orientation val="minMax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7552832"/>
        <c:crosses val="autoZero"/>
        <c:crossBetween val="midCat"/>
      </c:valAx>
      <c:valAx>
        <c:axId val="-2127552832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6975056"/>
        <c:crosses val="autoZero"/>
        <c:crossBetween val="midCat"/>
        <c:minorUnit val="0.08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0C57-4AD8-AD5B-5E30CFC21847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0C57-4AD8-AD5B-5E30CFC21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53582896"/>
        <c:axId val="2062332048"/>
      </c:barChart>
      <c:catAx>
        <c:axId val="2053582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2332048"/>
        <c:crosses val="autoZero"/>
        <c:auto val="1"/>
        <c:lblAlgn val="ctr"/>
        <c:lblOffset val="100"/>
        <c:noMultiLvlLbl val="0"/>
      </c:catAx>
      <c:valAx>
        <c:axId val="20623320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358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0C57-4AD8-AD5B-5E30CFC21847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0C57-4AD8-AD5B-5E30CFC21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53582896"/>
        <c:axId val="2062332048"/>
      </c:barChart>
      <c:catAx>
        <c:axId val="2053582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2332048"/>
        <c:crosses val="autoZero"/>
        <c:auto val="1"/>
        <c:lblAlgn val="ctr"/>
        <c:lblOffset val="100"/>
        <c:noMultiLvlLbl val="0"/>
      </c:catAx>
      <c:valAx>
        <c:axId val="20623320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358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EE65-4C89-AAB0-D889C6D5A394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EE65-4C89-AAB0-D889C6D5A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-2130269472"/>
        <c:axId val="-2130265552"/>
      </c:barChart>
      <c:catAx>
        <c:axId val="-2130269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130265552"/>
        <c:crosses val="autoZero"/>
        <c:auto val="1"/>
        <c:lblAlgn val="ctr"/>
        <c:lblOffset val="100"/>
        <c:noMultiLvlLbl val="0"/>
      </c:catAx>
      <c:valAx>
        <c:axId val="-21302655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13026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EE65-4C89-AAB0-D889C6D5A394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EE65-4C89-AAB0-D889C6D5A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-2130269472"/>
        <c:axId val="-2130265552"/>
      </c:barChart>
      <c:catAx>
        <c:axId val="-2130269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130265552"/>
        <c:crosses val="autoZero"/>
        <c:auto val="1"/>
        <c:lblAlgn val="ctr"/>
        <c:lblOffset val="100"/>
        <c:noMultiLvlLbl val="0"/>
      </c:catAx>
      <c:valAx>
        <c:axId val="-21302655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13026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4E18-43F1-9FA0-B0C325AC06C9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4E18-43F1-9FA0-B0C325AC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61914352"/>
        <c:axId val="2061868576"/>
      </c:barChart>
      <c:catAx>
        <c:axId val="2061914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1868576"/>
        <c:crosses val="autoZero"/>
        <c:auto val="1"/>
        <c:lblAlgn val="ctr"/>
        <c:lblOffset val="100"/>
        <c:noMultiLvlLbl val="0"/>
      </c:catAx>
      <c:valAx>
        <c:axId val="2061868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1914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4E18-43F1-9FA0-B0C325AC06C9}"/>
            </c:ext>
          </c:extLst>
        </c:ser>
        <c:ser>
          <c:idx val="1"/>
          <c:order val="1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Category 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4E18-43F1-9FA0-B0C325AC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54"/>
        <c:axId val="2061914352"/>
        <c:axId val="2061868576"/>
      </c:barChart>
      <c:catAx>
        <c:axId val="2061914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61868576"/>
        <c:crosses val="autoZero"/>
        <c:auto val="1"/>
        <c:lblAlgn val="ctr"/>
        <c:lblOffset val="100"/>
        <c:noMultiLvlLbl val="0"/>
      </c:catAx>
      <c:valAx>
        <c:axId val="2061868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1914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A4-4578-9F95-04CFE2501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94224"/>
        <c:axId val="2062498144"/>
      </c:lineChart>
      <c:catAx>
        <c:axId val="2062494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98144"/>
        <c:crosses val="autoZero"/>
        <c:auto val="1"/>
        <c:lblAlgn val="ctr"/>
        <c:lblOffset val="100"/>
        <c:noMultiLvlLbl val="0"/>
      </c:catAx>
      <c:valAx>
        <c:axId val="206249814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9422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A4-4578-9F95-04CFE2501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94224"/>
        <c:axId val="2062498144"/>
      </c:lineChart>
      <c:catAx>
        <c:axId val="2062494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98144"/>
        <c:crosses val="autoZero"/>
        <c:auto val="1"/>
        <c:lblAlgn val="ctr"/>
        <c:lblOffset val="100"/>
        <c:noMultiLvlLbl val="0"/>
      </c:catAx>
      <c:valAx>
        <c:axId val="206249814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9422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B6-4954-9BEF-FDA954FC5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24752"/>
        <c:axId val="2062419136"/>
      </c:lineChart>
      <c:catAx>
        <c:axId val="2062424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19136"/>
        <c:crosses val="autoZero"/>
        <c:auto val="1"/>
        <c:lblAlgn val="ctr"/>
        <c:lblOffset val="100"/>
        <c:noMultiLvlLbl val="0"/>
      </c:catAx>
      <c:valAx>
        <c:axId val="206241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247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B6-4954-9BEF-FDA954FC5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2424752"/>
        <c:axId val="2062419136"/>
      </c:lineChart>
      <c:catAx>
        <c:axId val="2062424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2419136"/>
        <c:crosses val="autoZero"/>
        <c:auto val="1"/>
        <c:lblAlgn val="ctr"/>
        <c:lblOffset val="100"/>
        <c:noMultiLvlLbl val="0"/>
      </c:catAx>
      <c:valAx>
        <c:axId val="206241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624247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ph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1C-42AB-8343-387198F09A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3">
                  <c:v>0</c:v>
                </c:pt>
                <c:pt idx="4">
                  <c:v>75</c:v>
                </c:pt>
                <c:pt idx="5">
                  <c:v>75</c:v>
                </c:pt>
                <c:pt idx="6">
                  <c:v>7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1C-42AB-8343-387198F09A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6">
                  <c:v>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1C-42AB-8343-387198F09A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elt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E$2:$E$15</c:f>
              <c:numCache>
                <c:formatCode>General</c:formatCode>
                <c:ptCount val="14"/>
                <c:pt idx="9">
                  <c:v>0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1C-42AB-8343-387198F09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0185504"/>
        <c:axId val="2141124032"/>
      </c:areaChart>
      <c:dateAx>
        <c:axId val="2140185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1124032"/>
        <c:crosses val="autoZero"/>
        <c:auto val="0"/>
        <c:lblOffset val="100"/>
        <c:baseTimeUnit val="days"/>
      </c:dateAx>
      <c:valAx>
        <c:axId val="21411240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185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ph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1C-42AB-8343-387198F09A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3">
                  <c:v>0</c:v>
                </c:pt>
                <c:pt idx="4">
                  <c:v>75</c:v>
                </c:pt>
                <c:pt idx="5">
                  <c:v>75</c:v>
                </c:pt>
                <c:pt idx="6">
                  <c:v>7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1C-42AB-8343-387198F09A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6">
                  <c:v>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1C-42AB-8343-387198F09A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elt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50</c:v>
                </c:pt>
                <c:pt idx="6">
                  <c:v>75</c:v>
                </c:pt>
                <c:pt idx="7">
                  <c:v>75</c:v>
                </c:pt>
                <c:pt idx="8">
                  <c:v>112.5</c:v>
                </c:pt>
                <c:pt idx="9">
                  <c:v>150</c:v>
                </c:pt>
                <c:pt idx="10">
                  <c:v>150</c:v>
                </c:pt>
                <c:pt idx="11">
                  <c:v>200</c:v>
                </c:pt>
                <c:pt idx="12">
                  <c:v>250</c:v>
                </c:pt>
                <c:pt idx="13">
                  <c:v>250</c:v>
                </c:pt>
              </c:numCache>
            </c:numRef>
          </c:cat>
          <c:val>
            <c:numRef>
              <c:f>Sheet1!$E$2:$E$15</c:f>
              <c:numCache>
                <c:formatCode>General</c:formatCode>
                <c:ptCount val="14"/>
                <c:pt idx="9">
                  <c:v>0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1C-42AB-8343-387198F09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0185504"/>
        <c:axId val="2141124032"/>
      </c:areaChart>
      <c:dateAx>
        <c:axId val="2140185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1124032"/>
        <c:crosses val="autoZero"/>
        <c:auto val="0"/>
        <c:lblOffset val="100"/>
        <c:baseTimeUnit val="days"/>
      </c:dateAx>
      <c:valAx>
        <c:axId val="21411240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40185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4099584416302396E-2"/>
          <c:y val="4.1439293404973099E-2"/>
          <c:w val="0.880573517141645"/>
          <c:h val="0.82407931416615998"/>
        </c:manualLayout>
      </c:layout>
      <c:surface3DChart>
        <c:wireframe val="0"/>
        <c:ser>
          <c:idx val="0"/>
          <c:order val="0"/>
          <c:tx>
            <c:strRef>
              <c:f>Sheet1!$A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2">
                <a:tint val="50000"/>
              </a:schemeClr>
            </a:solidFill>
            <a:ln/>
            <a:effectLst/>
            <a:sp3d/>
          </c:spPr>
          <c:val>
            <c:numRef>
              <c:f>Sheet1!$A$2:$A$8</c:f>
              <c:numCache>
                <c:formatCode>General</c:formatCode>
                <c:ptCount val="7"/>
                <c:pt idx="0">
                  <c:v>0.43</c:v>
                </c:pt>
                <c:pt idx="1">
                  <c:v>0.4</c:v>
                </c:pt>
                <c:pt idx="2">
                  <c:v>0.45</c:v>
                </c:pt>
                <c:pt idx="3">
                  <c:v>0.82</c:v>
                </c:pt>
                <c:pt idx="4">
                  <c:v>0.52</c:v>
                </c:pt>
                <c:pt idx="5">
                  <c:v>1.32</c:v>
                </c:pt>
                <c:pt idx="6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D0-49BF-8E62-5125265F5647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0.5</c:v>
                </c:pt>
              </c:strCache>
            </c:strRef>
          </c:tx>
          <c:spPr>
            <a:solidFill>
              <a:schemeClr val="accent2">
                <a:tint val="70000"/>
              </a:schemeClr>
            </a:solidFill>
            <a:ln/>
            <a:effectLst/>
            <a:sp3d/>
          </c:spPr>
          <c:val>
            <c:numRef>
              <c:f>Sheet1!$B$2:$B$8</c:f>
              <c:numCache>
                <c:formatCode>General</c:formatCode>
                <c:ptCount val="7"/>
                <c:pt idx="0">
                  <c:v>0.13</c:v>
                </c:pt>
                <c:pt idx="1">
                  <c:v>0.15</c:v>
                </c:pt>
                <c:pt idx="2">
                  <c:v>0.2</c:v>
                </c:pt>
                <c:pt idx="3">
                  <c:v>0.26</c:v>
                </c:pt>
                <c:pt idx="4">
                  <c:v>0.19</c:v>
                </c:pt>
                <c:pt idx="5">
                  <c:v>0.46</c:v>
                </c:pt>
                <c:pt idx="6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D0-49BF-8E62-5125265F5647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>
                <a:tint val="90000"/>
              </a:schemeClr>
            </a:solidFill>
            <a:ln/>
            <a:effectLst/>
            <a:sp3d/>
          </c:spPr>
          <c:val>
            <c:numRef>
              <c:f>Sheet1!$C$2:$C$8</c:f>
              <c:numCache>
                <c:formatCode>General</c:formatCode>
                <c:ptCount val="7"/>
                <c:pt idx="0">
                  <c:v>0.28999999999999998</c:v>
                </c:pt>
                <c:pt idx="1">
                  <c:v>0.25</c:v>
                </c:pt>
                <c:pt idx="2">
                  <c:v>0.21</c:v>
                </c:pt>
                <c:pt idx="3">
                  <c:v>0.28999999999999998</c:v>
                </c:pt>
                <c:pt idx="4">
                  <c:v>0.25</c:v>
                </c:pt>
                <c:pt idx="5">
                  <c:v>0.48</c:v>
                </c:pt>
                <c:pt idx="6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D0-49BF-8E62-5125265F5647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2">
                <a:shade val="90000"/>
              </a:schemeClr>
            </a:solidFill>
            <a:ln/>
            <a:effectLst/>
            <a:sp3d/>
          </c:spPr>
          <c:val>
            <c:numRef>
              <c:f>Sheet1!$D$2:$D$8</c:f>
              <c:numCache>
                <c:formatCode>General</c:formatCode>
                <c:ptCount val="7"/>
                <c:pt idx="0">
                  <c:v>0.9</c:v>
                </c:pt>
                <c:pt idx="1">
                  <c:v>1.18</c:v>
                </c:pt>
                <c:pt idx="2">
                  <c:v>0.48</c:v>
                </c:pt>
                <c:pt idx="3">
                  <c:v>0.21</c:v>
                </c:pt>
                <c:pt idx="4">
                  <c:v>0.27</c:v>
                </c:pt>
                <c:pt idx="5">
                  <c:v>0.31</c:v>
                </c:pt>
                <c:pt idx="6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9-A5D0-49BF-8E62-5125265F5647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4.5</c:v>
                </c:pt>
              </c:strCache>
            </c:strRef>
          </c:tx>
          <c:spPr>
            <a:solidFill>
              <a:schemeClr val="accent2">
                <a:shade val="70000"/>
              </a:schemeClr>
            </a:solidFill>
            <a:ln/>
            <a:effectLst/>
            <a:sp3d/>
          </c:spPr>
          <c:val>
            <c:numRef>
              <c:f>Sheet1!$E$2:$E$8</c:f>
              <c:numCache>
                <c:formatCode>General</c:formatCode>
                <c:ptCount val="7"/>
                <c:pt idx="0">
                  <c:v>0.42</c:v>
                </c:pt>
                <c:pt idx="1">
                  <c:v>0.53</c:v>
                </c:pt>
                <c:pt idx="2">
                  <c:v>0.2</c:v>
                </c:pt>
                <c:pt idx="3">
                  <c:v>7.0000000000000007E-2</c:v>
                </c:pt>
                <c:pt idx="4">
                  <c:v>0.13</c:v>
                </c:pt>
                <c:pt idx="5">
                  <c:v>0.14000000000000001</c:v>
                </c:pt>
                <c:pt idx="6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A-A5D0-49BF-8E62-5125265F5647}"/>
            </c:ext>
          </c:extLst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4.6</c:v>
                </c:pt>
              </c:strCache>
            </c:strRef>
          </c:tx>
          <c:spPr>
            <a:solidFill>
              <a:schemeClr val="accent2">
                <a:shade val="50000"/>
              </a:schemeClr>
            </a:solidFill>
            <a:ln/>
            <a:effectLst/>
            <a:sp3d/>
          </c:spPr>
          <c:val>
            <c:numRef>
              <c:f>Sheet1!$F$2:$F$8</c:f>
              <c:numCache>
                <c:formatCode>General</c:formatCode>
                <c:ptCount val="7"/>
                <c:pt idx="0">
                  <c:v>0.47</c:v>
                </c:pt>
                <c:pt idx="1">
                  <c:v>0.78</c:v>
                </c:pt>
                <c:pt idx="2">
                  <c:v>0.28000000000000003</c:v>
                </c:pt>
                <c:pt idx="3">
                  <c:v>0.22</c:v>
                </c:pt>
                <c:pt idx="4">
                  <c:v>0.24</c:v>
                </c:pt>
                <c:pt idx="5">
                  <c:v>0.21</c:v>
                </c:pt>
                <c:pt idx="6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B-A5D0-49BF-8E62-5125265F5647}"/>
            </c:ext>
          </c:extLst>
        </c:ser>
        <c:bandFmts>
          <c:bandFmt>
            <c:idx val="0"/>
            <c:spPr>
              <a:solidFill>
                <a:schemeClr val="accent2">
                  <a:tint val="58000"/>
                </a:schemeClr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2">
                  <a:tint val="86000"/>
                </a:schemeClr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2">
                  <a:shade val="86000"/>
                </a:schemeClr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2">
                  <a:shade val="58000"/>
                </a:schemeClr>
              </a:solidFill>
              <a:ln/>
              <a:effectLst/>
              <a:sp3d/>
            </c:spPr>
          </c:bandFmt>
        </c:bandFmts>
        <c:axId val="2139687280"/>
        <c:axId val="2139691760"/>
        <c:axId val="2139696368"/>
      </c:surface3DChart>
      <c:catAx>
        <c:axId val="2139687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91760"/>
        <c:crosses val="autoZero"/>
        <c:auto val="1"/>
        <c:lblAlgn val="ctr"/>
        <c:lblOffset val="100"/>
        <c:noMultiLvlLbl val="0"/>
      </c:catAx>
      <c:valAx>
        <c:axId val="2139691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87280"/>
        <c:crosses val="autoZero"/>
        <c:crossBetween val="midCat"/>
      </c:valAx>
      <c:serAx>
        <c:axId val="213969636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691760"/>
        <c:crosses val="autoZero"/>
      </c:ser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55</c:f>
              <c:numCache>
                <c:formatCode>General</c:formatCode>
                <c:ptCount val="54"/>
                <c:pt idx="0">
                  <c:v>0.4</c:v>
                </c:pt>
                <c:pt idx="1">
                  <c:v>0.37</c:v>
                </c:pt>
                <c:pt idx="2">
                  <c:v>0.96</c:v>
                </c:pt>
                <c:pt idx="3">
                  <c:v>0.97</c:v>
                </c:pt>
                <c:pt idx="4">
                  <c:v>1.29</c:v>
                </c:pt>
                <c:pt idx="5">
                  <c:v>0.92</c:v>
                </c:pt>
                <c:pt idx="6">
                  <c:v>1.19</c:v>
                </c:pt>
                <c:pt idx="7">
                  <c:v>0.84</c:v>
                </c:pt>
                <c:pt idx="8">
                  <c:v>0.89</c:v>
                </c:pt>
                <c:pt idx="9">
                  <c:v>0.66</c:v>
                </c:pt>
                <c:pt idx="10">
                  <c:v>1.28</c:v>
                </c:pt>
                <c:pt idx="11">
                  <c:v>0.64</c:v>
                </c:pt>
                <c:pt idx="12">
                  <c:v>0.64</c:v>
                </c:pt>
                <c:pt idx="13">
                  <c:v>0.64</c:v>
                </c:pt>
                <c:pt idx="14">
                  <c:v>0.79</c:v>
                </c:pt>
                <c:pt idx="15">
                  <c:v>0.79</c:v>
                </c:pt>
                <c:pt idx="16">
                  <c:v>0.79</c:v>
                </c:pt>
                <c:pt idx="17">
                  <c:v>0.95</c:v>
                </c:pt>
                <c:pt idx="18">
                  <c:v>0.98</c:v>
                </c:pt>
                <c:pt idx="19">
                  <c:v>0.98</c:v>
                </c:pt>
                <c:pt idx="20">
                  <c:v>0.98</c:v>
                </c:pt>
                <c:pt idx="21">
                  <c:v>0.96</c:v>
                </c:pt>
                <c:pt idx="22">
                  <c:v>0.96</c:v>
                </c:pt>
                <c:pt idx="23">
                  <c:v>0.96</c:v>
                </c:pt>
                <c:pt idx="24">
                  <c:v>0.75</c:v>
                </c:pt>
                <c:pt idx="25">
                  <c:v>0.86</c:v>
                </c:pt>
                <c:pt idx="26">
                  <c:v>0.94</c:v>
                </c:pt>
                <c:pt idx="27">
                  <c:v>0.89</c:v>
                </c:pt>
                <c:pt idx="28">
                  <c:v>0.92</c:v>
                </c:pt>
                <c:pt idx="29">
                  <c:v>0.92</c:v>
                </c:pt>
                <c:pt idx="30">
                  <c:v>0.92</c:v>
                </c:pt>
                <c:pt idx="31">
                  <c:v>1.05</c:v>
                </c:pt>
                <c:pt idx="32">
                  <c:v>0.63</c:v>
                </c:pt>
                <c:pt idx="33">
                  <c:v>0.63</c:v>
                </c:pt>
                <c:pt idx="34">
                  <c:v>0.63</c:v>
                </c:pt>
                <c:pt idx="35">
                  <c:v>0.71</c:v>
                </c:pt>
                <c:pt idx="36">
                  <c:v>0.87</c:v>
                </c:pt>
                <c:pt idx="37">
                  <c:v>0.78</c:v>
                </c:pt>
                <c:pt idx="38">
                  <c:v>0.78</c:v>
                </c:pt>
                <c:pt idx="39">
                  <c:v>0.78</c:v>
                </c:pt>
                <c:pt idx="40">
                  <c:v>0.63</c:v>
                </c:pt>
                <c:pt idx="41">
                  <c:v>0.67</c:v>
                </c:pt>
                <c:pt idx="42">
                  <c:v>0.67</c:v>
                </c:pt>
                <c:pt idx="43">
                  <c:v>0.67</c:v>
                </c:pt>
                <c:pt idx="44">
                  <c:v>0.56000000000000005</c:v>
                </c:pt>
                <c:pt idx="45">
                  <c:v>0.82</c:v>
                </c:pt>
                <c:pt idx="46">
                  <c:v>0.62</c:v>
                </c:pt>
                <c:pt idx="47">
                  <c:v>0.45</c:v>
                </c:pt>
                <c:pt idx="48">
                  <c:v>0.45</c:v>
                </c:pt>
                <c:pt idx="49">
                  <c:v>0.45</c:v>
                </c:pt>
                <c:pt idx="50">
                  <c:v>0.76</c:v>
                </c:pt>
                <c:pt idx="51">
                  <c:v>0.72</c:v>
                </c:pt>
                <c:pt idx="52">
                  <c:v>0.61</c:v>
                </c:pt>
                <c:pt idx="53">
                  <c:v>0.54</c:v>
                </c:pt>
              </c:numCache>
            </c:numRef>
          </c:xVal>
          <c:yVal>
            <c:numRef>
              <c:f>Sheet1!$B$2:$B$55</c:f>
              <c:numCache>
                <c:formatCode>General</c:formatCode>
                <c:ptCount val="54"/>
                <c:pt idx="0">
                  <c:v>0.96</c:v>
                </c:pt>
                <c:pt idx="1">
                  <c:v>0.95</c:v>
                </c:pt>
                <c:pt idx="2">
                  <c:v>0.69</c:v>
                </c:pt>
                <c:pt idx="3">
                  <c:v>0.83</c:v>
                </c:pt>
                <c:pt idx="4">
                  <c:v>0.8</c:v>
                </c:pt>
                <c:pt idx="5">
                  <c:v>0.72</c:v>
                </c:pt>
                <c:pt idx="6">
                  <c:v>0.84</c:v>
                </c:pt>
                <c:pt idx="7">
                  <c:v>0.77</c:v>
                </c:pt>
                <c:pt idx="8">
                  <c:v>0.98</c:v>
                </c:pt>
                <c:pt idx="9">
                  <c:v>0.77</c:v>
                </c:pt>
                <c:pt idx="10">
                  <c:v>1.19</c:v>
                </c:pt>
                <c:pt idx="11">
                  <c:v>0.84</c:v>
                </c:pt>
                <c:pt idx="12">
                  <c:v>0.78</c:v>
                </c:pt>
                <c:pt idx="13">
                  <c:v>0.91</c:v>
                </c:pt>
                <c:pt idx="14">
                  <c:v>0.78</c:v>
                </c:pt>
                <c:pt idx="15">
                  <c:v>0.78</c:v>
                </c:pt>
                <c:pt idx="16">
                  <c:v>0.78</c:v>
                </c:pt>
                <c:pt idx="17">
                  <c:v>0.8</c:v>
                </c:pt>
                <c:pt idx="18">
                  <c:v>0.6</c:v>
                </c:pt>
                <c:pt idx="19">
                  <c:v>0.6</c:v>
                </c:pt>
                <c:pt idx="20">
                  <c:v>0.6</c:v>
                </c:pt>
                <c:pt idx="21">
                  <c:v>0.81</c:v>
                </c:pt>
                <c:pt idx="22">
                  <c:v>0.81</c:v>
                </c:pt>
                <c:pt idx="23">
                  <c:v>0.81</c:v>
                </c:pt>
                <c:pt idx="24">
                  <c:v>0.71</c:v>
                </c:pt>
                <c:pt idx="25">
                  <c:v>0.74</c:v>
                </c:pt>
                <c:pt idx="26">
                  <c:v>0.47</c:v>
                </c:pt>
                <c:pt idx="27">
                  <c:v>0.83</c:v>
                </c:pt>
                <c:pt idx="28">
                  <c:v>0.57999999999999996</c:v>
                </c:pt>
                <c:pt idx="29">
                  <c:v>0.57999999999999996</c:v>
                </c:pt>
                <c:pt idx="30">
                  <c:v>0.57999999999999996</c:v>
                </c:pt>
                <c:pt idx="31">
                  <c:v>0.62</c:v>
                </c:pt>
                <c:pt idx="32">
                  <c:v>0.51</c:v>
                </c:pt>
                <c:pt idx="33">
                  <c:v>0.51</c:v>
                </c:pt>
                <c:pt idx="34">
                  <c:v>0.51</c:v>
                </c:pt>
                <c:pt idx="35">
                  <c:v>0.76</c:v>
                </c:pt>
                <c:pt idx="36">
                  <c:v>0.79</c:v>
                </c:pt>
                <c:pt idx="37">
                  <c:v>0.62</c:v>
                </c:pt>
                <c:pt idx="38">
                  <c:v>0.75</c:v>
                </c:pt>
                <c:pt idx="39">
                  <c:v>0.75</c:v>
                </c:pt>
                <c:pt idx="40">
                  <c:v>0.84</c:v>
                </c:pt>
                <c:pt idx="41">
                  <c:v>0.66</c:v>
                </c:pt>
                <c:pt idx="42">
                  <c:v>0.62</c:v>
                </c:pt>
                <c:pt idx="43">
                  <c:v>0.59</c:v>
                </c:pt>
                <c:pt idx="44">
                  <c:v>0.71</c:v>
                </c:pt>
                <c:pt idx="45">
                  <c:v>0.85</c:v>
                </c:pt>
                <c:pt idx="46">
                  <c:v>0.57999999999999996</c:v>
                </c:pt>
                <c:pt idx="47">
                  <c:v>0.47</c:v>
                </c:pt>
                <c:pt idx="48">
                  <c:v>0.63</c:v>
                </c:pt>
                <c:pt idx="49">
                  <c:v>1.55</c:v>
                </c:pt>
                <c:pt idx="50">
                  <c:v>0.94</c:v>
                </c:pt>
                <c:pt idx="51">
                  <c:v>0.57999999999999996</c:v>
                </c:pt>
                <c:pt idx="52">
                  <c:v>0.69</c:v>
                </c:pt>
                <c:pt idx="53">
                  <c:v>0.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40-432C-9890-1964AA8C65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439888"/>
        <c:axId val="2139438432"/>
      </c:scatterChart>
      <c:valAx>
        <c:axId val="2139439888"/>
        <c:scaling>
          <c:orientation val="minMax"/>
          <c:max val="1.4"/>
          <c:min val="0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438432"/>
        <c:crosses val="autoZero"/>
        <c:crossBetween val="midCat"/>
        <c:majorUnit val="0.2"/>
        <c:minorUnit val="0.01"/>
      </c:valAx>
      <c:valAx>
        <c:axId val="2139438432"/>
        <c:scaling>
          <c:orientation val="minMax"/>
          <c:max val="1.6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4398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95-45C8-919E-F790DA9006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95-45C8-919E-F790DA9006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95-45C8-919E-F790DA900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388496"/>
        <c:axId val="2139393216"/>
      </c:barChart>
      <c:catAx>
        <c:axId val="213938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393216"/>
        <c:crosses val="autoZero"/>
        <c:auto val="1"/>
        <c:lblAlgn val="ctr"/>
        <c:lblOffset val="100"/>
        <c:noMultiLvlLbl val="0"/>
      </c:catAx>
      <c:valAx>
        <c:axId val="2139393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38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95-45C8-919E-F790DA9006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95-45C8-919E-F790DA9006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3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95-45C8-919E-F790DA900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388496"/>
        <c:axId val="2139393216"/>
      </c:barChart>
      <c:catAx>
        <c:axId val="213938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393216"/>
        <c:crosses val="autoZero"/>
        <c:auto val="1"/>
        <c:lblAlgn val="ctr"/>
        <c:lblOffset val="100"/>
        <c:noMultiLvlLbl val="0"/>
      </c:catAx>
      <c:valAx>
        <c:axId val="2139393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38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E3-468A-921B-49EA397929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E3-468A-921B-49EA397929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E3-468A-921B-49EA397929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89344"/>
        <c:axId val="2139184352"/>
      </c:barChart>
      <c:catAx>
        <c:axId val="213918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184352"/>
        <c:crosses val="autoZero"/>
        <c:auto val="1"/>
        <c:lblAlgn val="ctr"/>
        <c:lblOffset val="100"/>
        <c:noMultiLvlLbl val="0"/>
      </c:catAx>
      <c:valAx>
        <c:axId val="21391843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89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E3-468A-921B-49EA397929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E3-468A-921B-49EA397929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2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E3-468A-921B-49EA397929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89344"/>
        <c:axId val="2139184352"/>
      </c:barChart>
      <c:catAx>
        <c:axId val="213918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184352"/>
        <c:crosses val="autoZero"/>
        <c:auto val="1"/>
        <c:lblAlgn val="ctr"/>
        <c:lblOffset val="100"/>
        <c:noMultiLvlLbl val="0"/>
      </c:catAx>
      <c:valAx>
        <c:axId val="21391843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89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Series1</c:v>
                </c:pt>
              </c:strCache>
            </c:strRef>
          </c:tx>
          <c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3">
                  <a:shade val="47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C7F-4CDF-9741-79020638D7FC}"/>
              </c:ext>
            </c:extLst>
          </c:dPt>
          <c:dPt>
            <c:idx val="1"/>
            <c:bubble3D val="0"/>
            <c:spPr>
              <a:solidFill>
                <a:schemeClr val="accent3">
                  <a:shade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C7F-4CDF-9741-79020638D7FC}"/>
              </c:ext>
            </c:extLst>
          </c:dPt>
          <c:dPt>
            <c:idx val="2"/>
            <c:bubble3D val="0"/>
            <c:spPr>
              <a:solidFill>
                <a:schemeClr val="accent3">
                  <a:shade val="82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C7F-4CDF-9741-79020638D7FC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C7F-4CDF-9741-79020638D7FC}"/>
              </c:ext>
            </c:extLst>
          </c:dPt>
          <c:dPt>
            <c:idx val="4"/>
            <c:bubble3D val="0"/>
            <c:spPr>
              <a:solidFill>
                <a:schemeClr val="accent3">
                  <a:tint val="83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C7F-4CDF-9741-79020638D7FC}"/>
              </c:ext>
            </c:extLst>
          </c:dPt>
          <c:dPt>
            <c:idx val="5"/>
            <c:bubble3D val="0"/>
            <c:spPr>
              <a:solidFill>
                <a:schemeClr val="accent3">
                  <a:tint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C7F-4CDF-9741-79020638D7FC}"/>
              </c:ext>
            </c:extLst>
          </c:dPt>
          <c:dPt>
            <c:idx val="6"/>
            <c:bubble3D val="0"/>
            <c:spPr>
              <a:solidFill>
                <a:schemeClr val="accent3">
                  <a:tint val="48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C7F-4CDF-9741-79020638D7FC}"/>
              </c:ext>
            </c:extLst>
          </c:dPt>
          <c:val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E3-4D7B-9FC4-D02127C4E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Series1</c:v>
                </c:pt>
              </c:strCache>
            </c:strRef>
          </c:tx>
          <c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3">
                  <a:shade val="47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C7F-4CDF-9741-79020638D7FC}"/>
              </c:ext>
            </c:extLst>
          </c:dPt>
          <c:dPt>
            <c:idx val="1"/>
            <c:bubble3D val="0"/>
            <c:spPr>
              <a:solidFill>
                <a:schemeClr val="accent3">
                  <a:shade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C7F-4CDF-9741-79020638D7FC}"/>
              </c:ext>
            </c:extLst>
          </c:dPt>
          <c:dPt>
            <c:idx val="2"/>
            <c:bubble3D val="0"/>
            <c:spPr>
              <a:solidFill>
                <a:schemeClr val="accent3">
                  <a:shade val="82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C7F-4CDF-9741-79020638D7FC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C7F-4CDF-9741-79020638D7FC}"/>
              </c:ext>
            </c:extLst>
          </c:dPt>
          <c:dPt>
            <c:idx val="4"/>
            <c:bubble3D val="0"/>
            <c:spPr>
              <a:solidFill>
                <a:schemeClr val="accent3">
                  <a:tint val="83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C7F-4CDF-9741-79020638D7FC}"/>
              </c:ext>
            </c:extLst>
          </c:dPt>
          <c:dPt>
            <c:idx val="5"/>
            <c:bubble3D val="0"/>
            <c:spPr>
              <a:solidFill>
                <a:schemeClr val="accent3">
                  <a:tint val="6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C7F-4CDF-9741-79020638D7FC}"/>
              </c:ext>
            </c:extLst>
          </c:dPt>
          <c:dPt>
            <c:idx val="6"/>
            <c:bubble3D val="0"/>
            <c:spPr>
              <a:solidFill>
                <a:schemeClr val="accent3">
                  <a:tint val="48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C7F-4CDF-9741-79020638D7FC}"/>
              </c:ext>
            </c:extLst>
          </c:dPt>
          <c:val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E3-4D7B-9FC4-D02127C4E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FC-4488-896F-B039F36C97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FC-4488-896F-B039F36C97A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FC-4488-896F-B039F36C9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12576"/>
        <c:axId val="2054118816"/>
      </c:barChart>
      <c:catAx>
        <c:axId val="213911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4118816"/>
        <c:crosses val="autoZero"/>
        <c:auto val="1"/>
        <c:lblAlgn val="ctr"/>
        <c:lblOffset val="100"/>
        <c:noMultiLvlLbl val="0"/>
      </c:catAx>
      <c:valAx>
        <c:axId val="2054118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1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FC-4488-896F-B039F36C97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FC-4488-896F-B039F36C97A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Level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FC-4488-896F-B039F36C9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112576"/>
        <c:axId val="2054118816"/>
      </c:barChart>
      <c:catAx>
        <c:axId val="213911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4118816"/>
        <c:crosses val="autoZero"/>
        <c:auto val="1"/>
        <c:lblAlgn val="ctr"/>
        <c:lblOffset val="100"/>
        <c:noMultiLvlLbl val="0"/>
      </c:catAx>
      <c:valAx>
        <c:axId val="2054118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911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8C-4252-82F3-005B5E44F8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8C-4252-82F3-005B5E44F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4216656"/>
        <c:axId val="2144032464"/>
      </c:areaChart>
      <c:dateAx>
        <c:axId val="2144216656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032464"/>
        <c:crosses val="autoZero"/>
        <c:auto val="1"/>
        <c:lblOffset val="100"/>
        <c:baseTimeUnit val="months"/>
      </c:dateAx>
      <c:valAx>
        <c:axId val="214403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166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8C-4252-82F3-005B5E44F8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m/d/yyyy</c:formatCode>
                <c:ptCount val="5"/>
                <c:pt idx="0">
                  <c:v>42370</c:v>
                </c:pt>
                <c:pt idx="1">
                  <c:v>42401</c:v>
                </c:pt>
                <c:pt idx="2">
                  <c:v>42432</c:v>
                </c:pt>
                <c:pt idx="3">
                  <c:v>42463</c:v>
                </c:pt>
                <c:pt idx="4">
                  <c:v>4249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8C-4252-82F3-005B5E44F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4216656"/>
        <c:axId val="2144032464"/>
      </c:areaChart>
      <c:dateAx>
        <c:axId val="2144216656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032464"/>
        <c:crosses val="autoZero"/>
        <c:auto val="1"/>
        <c:lblOffset val="100"/>
        <c:baseTimeUnit val="months"/>
      </c:dateAx>
      <c:valAx>
        <c:axId val="214403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42166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1!$A$2:$A$77</cx:f>
        <cx:lvl ptCount="76" formatCode="General">
          <cx:pt idx="0">1</cx:pt>
          <cx:pt idx="1">3</cx:pt>
          <cx:pt idx="2">3</cx:pt>
          <cx:pt idx="3">3</cx:pt>
          <cx:pt idx="4">5</cx:pt>
          <cx:pt idx="5">6</cx:pt>
          <cx:pt idx="6">6</cx:pt>
          <cx:pt idx="7">6</cx:pt>
          <cx:pt idx="8">7</cx:pt>
          <cx:pt idx="9">8</cx:pt>
          <cx:pt idx="10">8</cx:pt>
          <cx:pt idx="11">9</cx:pt>
          <cx:pt idx="12">9</cx:pt>
          <cx:pt idx="13">9</cx:pt>
          <cx:pt idx="14">9</cx:pt>
          <cx:pt idx="15">9</cx:pt>
          <cx:pt idx="16">10</cx:pt>
          <cx:pt idx="17">10</cx:pt>
          <cx:pt idx="18">10</cx:pt>
          <cx:pt idx="19">10</cx:pt>
          <cx:pt idx="20">10</cx:pt>
          <cx:pt idx="21">10</cx:pt>
          <cx:pt idx="22">11</cx:pt>
          <cx:pt idx="23">11</cx:pt>
          <cx:pt idx="24">11</cx:pt>
          <cx:pt idx="25">11</cx:pt>
          <cx:pt idx="26">11</cx:pt>
          <cx:pt idx="27">11</cx:pt>
          <cx:pt idx="28">12</cx:pt>
          <cx:pt idx="29">12</cx:pt>
          <cx:pt idx="30">12</cx:pt>
          <cx:pt idx="31">12</cx:pt>
          <cx:pt idx="32">12</cx:pt>
          <cx:pt idx="33">12</cx:pt>
          <cx:pt idx="34">13</cx:pt>
          <cx:pt idx="35">13</cx:pt>
          <cx:pt idx="36">13</cx:pt>
          <cx:pt idx="37">13</cx:pt>
          <cx:pt idx="38">13</cx:pt>
          <cx:pt idx="39">14</cx:pt>
          <cx:pt idx="40">14</cx:pt>
          <cx:pt idx="41">14</cx:pt>
          <cx:pt idx="42">14</cx:pt>
          <cx:pt idx="43">14</cx:pt>
          <cx:pt idx="44">14</cx:pt>
          <cx:pt idx="45">15</cx:pt>
          <cx:pt idx="46">15</cx:pt>
          <cx:pt idx="47">15</cx:pt>
          <cx:pt idx="48">15</cx:pt>
          <cx:pt idx="49">15</cx:pt>
          <cx:pt idx="50">15</cx:pt>
          <cx:pt idx="51">15</cx:pt>
          <cx:pt idx="52">15</cx:pt>
          <cx:pt idx="53">16</cx:pt>
          <cx:pt idx="54">16</cx:pt>
          <cx:pt idx="55">16</cx:pt>
          <cx:pt idx="56">16</cx:pt>
          <cx:pt idx="57">17</cx:pt>
          <cx:pt idx="58">17</cx:pt>
          <cx:pt idx="59">17</cx:pt>
          <cx:pt idx="60">17</cx:pt>
          <cx:pt idx="61">17</cx:pt>
          <cx:pt idx="62">17</cx:pt>
          <cx:pt idx="63">18</cx:pt>
          <cx:pt idx="64">18</cx:pt>
          <cx:pt idx="65">18</cx:pt>
          <cx:pt idx="66">18</cx:pt>
          <cx:pt idx="67">19</cx:pt>
          <cx:pt idx="68">19</cx:pt>
          <cx:pt idx="69">19</cx:pt>
          <cx:pt idx="70">20</cx:pt>
          <cx:pt idx="71">21</cx:pt>
          <cx:pt idx="72">22</cx:pt>
          <cx:pt idx="73">22</cx:pt>
          <cx:pt idx="74">24</cx:pt>
          <cx:pt idx="75">24</cx:pt>
        </cx:lvl>
      </cx:numDim>
    </cx:data>
  </cx:chartData>
  <cx:chart>
    <cx:plotArea>
      <cx:plotAreaRegion>
        <cx:series layoutId="clusteredColumn" uniqueId="{C65884F1-05B9-499F-83D0-2FC9E84FB3A4}">
          <cx:tx>
            <cx:txData>
              <cx:f>Sheet1!$A$1</cx:f>
              <cx:v>Series1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.0500000007"/>
        <cx:tickLabels/>
        <cx:txPr>
          <a:bodyPr spcFirstLastPara="1" vertOverflow="ellipsis" wrap="square" lIns="0" tIns="0" rIns="0" bIns="0" anchor="ctr" anchorCtr="1"/>
          <a:lstStyle/>
          <a:p>
            <a:pPr>
              <a:defRPr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>
              <a:latin typeface="Calibri Light" panose="020F0302020204030204" pitchFamily="34" charset="0"/>
            </a:endParaRPr>
          </a:p>
        </cx:txPr>
      </cx:axis>
      <cx:axis id="1" hidden="1">
        <cx:valScaling/>
        <cx:majorGridlines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2953BE43-09AA-44EC-96D1-4BC71E1403A2}">
          <cx:tx>
            <cx:txData>
              <cx:f>Sheet1!$B$1</cx:f>
              <cx:v>Series1</cx:v>
            </cx:txData>
          </cx:tx>
          <cx:dataLabels pos="outEnd"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 hidden="1">
        <cx:catScaling gapWidth="0.5"/>
        <cx:tickLabels/>
      </cx:axis>
      <cx:axis id="1" hidden="1">
        <cx:valScaling/>
        <cx:majorGridlines/>
        <cx:tickLabels/>
      </cx:axis>
    </cx:plotArea>
  </cx:chart>
</cx:chartSpace>
</file>

<file path=ppt/charts/chartEx2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Category 5</cx:pt>
          <cx:pt idx="5">Category 6</cx:pt>
          <cx:pt idx="6">Category 7</cx:pt>
          <cx:pt idx="7">Category 8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2953BE43-09AA-44EC-96D1-4BC71E1403A2}">
          <cx:tx>
            <cx:txData>
              <cx:f>Sheet1!$B$1</cx:f>
              <cx:v>Series1</cx:v>
            </cx:txData>
          </cx:tx>
          <cx:dataLabels pos="outEnd"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 hidden="1">
        <cx:catScaling gapWidth="0.5"/>
        <cx:tickLabels/>
      </cx:axis>
      <cx:axis id="1" hidden="1">
        <cx:valScaling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2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30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4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5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6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8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2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3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4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5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50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0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4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5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0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0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B1B8C4-9984-4140-AAD7-851D3EA6893F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5C274-0D59-4FBB-9021-D5821A2791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182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8B570-105F-4954-B68C-6C064C09FB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68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D94FE-1B86-46E5-8D9B-6CB82D3DF3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D210C-51E1-4F54-894C-DAA028A18A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20CC6-979E-45AD-9467-22A2CFC1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10261-8AFB-4B6E-ABB6-8DE9BF792E47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429FC-BC54-4C75-B1FE-FD9AE7A07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A849CF-E001-4F09-9B3E-5E9FDE433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648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6356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35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1912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860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524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061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12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9A37D1-A633-4131-A10D-3EA9E2FAA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A4DA7A-FAE1-47BE-8E17-D016E9F51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51565E-D14D-4470-9968-45A25138E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B5BCB-FB8D-462E-BA60-AAA97CE0C4AC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57EE32-A863-4CF5-83C8-51A6DD635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944FBB-3A41-4F23-8CAC-88C76E8B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762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3A2D6-4090-4A89-9BD0-EF0F5EEC0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882211-A20E-4D85-A2DE-4EBDC9D9B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6FE99-1CD2-4E17-8FCF-0E64DCA636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E356D9-1436-4E15-806E-E374DF732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710849-2AE5-40A8-9C68-A1C7C21E5638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8F29F0-08E2-4277-86F6-869C04E7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5325B9-F7C2-458B-9E38-1497CDDB3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95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D4903-7F1B-4DC3-B192-BFACB0D55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0F5F9F-9B77-4A3A-BDB5-6A4BDCB4A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B584E6-EF2E-4E97-9AA3-2F77C2A2E2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CCF2D4-ECBA-4DCA-B6F7-823143748E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0126DD-099A-4F86-9A80-AD36DAC125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20882E-B526-4564-9C2F-B6FEDF157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D3BBF-AC19-4C59-BC5E-1E0645B1ACAD}" type="datetime1">
              <a:rPr lang="en-US" smtClean="0"/>
              <a:t>19-Dec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D5794F-69C2-46EF-AFCD-8189E9327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362546-E101-41A5-B947-DCFA37D7D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37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6851A-9443-4C3D-BF69-4413509DE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EFE8D0-6BA7-4399-A4CF-151BC5B2B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62A5FC-5A5C-4BFE-80A6-524C51ADCCBE}" type="datetime1">
              <a:rPr lang="en-US" smtClean="0"/>
              <a:t>19-Dec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D065C5-E5DC-4C82-9710-2823CD304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5C4D96-6E61-4333-BB2D-A27EB8340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045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110" y="6356350"/>
            <a:ext cx="2743200" cy="365125"/>
          </a:xfrm>
        </p:spPr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4250" y="6357620"/>
            <a:ext cx="92964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26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110" y="6356350"/>
            <a:ext cx="2743200" cy="365125"/>
          </a:xfrm>
        </p:spPr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44250" y="6357620"/>
            <a:ext cx="92964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33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6186F-C855-4BE2-B32D-DA8E16742F50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358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327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BC91F-F3DA-4FDF-824C-4C8C96E69A5A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38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4CF6FD-EE8F-4C55-96CE-6518512A2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2ED97-F416-4FC8-A308-BADF68785D82}" type="datetime1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7DB5E1-CFEB-4752-BDB6-65FF85377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778607-4B77-410E-9612-3B9683E03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6166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723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382DE-C1A4-43BB-8340-349100634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0B99F-ABCE-481D-A97F-A3BDBAE627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31B3D-2482-43C5-A9EE-7452CCA444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327576-B0A8-4C84-8DB8-4CD414CC6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6D309-86F8-41C5-B94F-64778AE36F0A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E51FA-9F64-44C4-81D7-D24B3B96A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027022-1210-4131-913A-3B0E75C63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189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6433E-7A97-45FC-BC8C-A1A25AA40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E5371C-FFD6-454A-9981-0762C2FF5D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135D17-6F7E-412F-9B4C-AAB1E90B0F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0B2A34-5211-4288-99F9-F1E9D19CE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6A017-534E-405F-B908-9D0CBCA00C99}" type="datetime1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A3033B-045B-44B7-B619-49C926AF4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B5CAA3-1D25-42DD-90D8-ADE182CB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57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1904B-94E1-4D8D-A20C-B16B80B96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142BDA-291D-4300-B7C4-A8470AD8FB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6452B-39B9-4364-B8EA-9FEF88D47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A24C5-D8C0-4F06-956F-C179F24C9CFD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7AEFC3-ADF0-4D79-8B45-3FE894405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6B53F-26C9-4624-8B88-502C64282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218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A3A030-6D6A-4CF5-B775-B52A5A67FD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8E18BB-ABCF-4EBA-86C4-B6954CE35B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CD48F8-CD97-451F-81B6-19E4B7296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A6136-297D-4D5C-AA0E-81AC4A1D4B45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0C07A-1B8B-44DB-8754-C047AE143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B729AE-748E-48DB-B453-423B2F81A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138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695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0269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418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301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3706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3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041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6707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946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526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201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311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2" charset="0"/>
                <a:ea typeface="Open Sans" pitchFamily="34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9-Dec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19260" y="6356350"/>
            <a:ext cx="2743200" cy="365125"/>
          </a:xfrm>
        </p:spPr>
        <p:txBody>
          <a:bodyPr/>
          <a:lstStyle>
            <a:lvl1pPr>
              <a:defRPr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731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97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035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7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7073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82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5851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984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2640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905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9976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179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C78A4-6F11-474F-B7A0-213E38AE4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62E0B-60DD-4F64-B350-3D95F7C54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14963-F1D4-4522-A2A2-58456BB58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40D3A-A4B8-4511-B108-CED69F9274B2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CFA05F-AFD9-4F1D-9FE7-1A251D30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44D3C-54AC-4D80-B0F2-C25D69CF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4231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769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D85CF7-1CA0-4506-BA4C-74A1995D0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B15C7-BFB6-41B0-B45D-6D54782639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F10A75-4F7B-4D1C-8033-EF0F6D793A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72FA2-1CA0-4A4C-B65B-031305876156}" type="datetime1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B475CB-7FF6-4A83-BD8C-9B608E898C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BC275-3621-443D-A9FA-D89B6BCB95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33C979-B428-4696-BF10-1C3B9CBA9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8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86" r:id="rId3"/>
    <p:sldLayoutId id="2147483685" r:id="rId4"/>
    <p:sldLayoutId id="2147483684" r:id="rId5"/>
    <p:sldLayoutId id="2147483683" r:id="rId6"/>
    <p:sldLayoutId id="2147483682" r:id="rId7"/>
    <p:sldLayoutId id="2147483668" r:id="rId8"/>
    <p:sldLayoutId id="2147483667" r:id="rId9"/>
    <p:sldLayoutId id="2147483666" r:id="rId10"/>
    <p:sldLayoutId id="2147483665" r:id="rId11"/>
    <p:sldLayoutId id="2147483664" r:id="rId12"/>
    <p:sldLayoutId id="2147483651" r:id="rId13"/>
    <p:sldLayoutId id="2147483652" r:id="rId14"/>
    <p:sldLayoutId id="2147483653" r:id="rId15"/>
    <p:sldLayoutId id="2147483654" r:id="rId16"/>
    <p:sldLayoutId id="2147483655" r:id="rId17"/>
    <p:sldLayoutId id="2147483663" r:id="rId18"/>
    <p:sldLayoutId id="2147483662" r:id="rId19"/>
    <p:sldLayoutId id="2147483661" r:id="rId20"/>
    <p:sldLayoutId id="2147483660" r:id="rId21"/>
    <p:sldLayoutId id="2147483656" r:id="rId22"/>
    <p:sldLayoutId id="2147483657" r:id="rId23"/>
    <p:sldLayoutId id="2147483658" r:id="rId24"/>
    <p:sldLayoutId id="2147483659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D1A92-BF02-4C88-94FB-EDD11787B72B}" type="datetimeFigureOut">
              <a:rPr lang="en-US" smtClean="0"/>
              <a:t>7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273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3D1A92-BF02-4C88-94FB-EDD11787B72B}" type="datetimeFigureOut">
              <a:rPr lang="en-US" smtClean="0"/>
              <a:t>19-Dec-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22FC26-BEE7-406C-9383-C0CACC1BE6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7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8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10.png"/><Relationship Id="rId5" Type="http://schemas.microsoft.com/office/2014/relationships/chartEx" Target="../charts/chartEx2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2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chart" Target="../charts/chart18.xml"/><Relationship Id="rId7" Type="http://schemas.openxmlformats.org/officeDocument/2006/relationships/chart" Target="../charts/chart22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32.xml"/><Relationship Id="rId6" Type="http://schemas.openxmlformats.org/officeDocument/2006/relationships/chart" Target="../charts/chart21.xml"/><Relationship Id="rId5" Type="http://schemas.openxmlformats.org/officeDocument/2006/relationships/chart" Target="../charts/chart20.xml"/><Relationship Id="rId10" Type="http://schemas.openxmlformats.org/officeDocument/2006/relationships/chart" Target="../charts/chart25.xml"/><Relationship Id="rId4" Type="http://schemas.openxmlformats.org/officeDocument/2006/relationships/chart" Target="../charts/chart19.xml"/><Relationship Id="rId9" Type="http://schemas.openxmlformats.org/officeDocument/2006/relationships/chart" Target="../charts/chart2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file:///C:\Users\System%20Analyst\Desktop\Training\Employees%20List.xlsx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file:///C:\Program%20Files\HandBrake\HandBrake.exe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7" Type="http://schemas.openxmlformats.org/officeDocument/2006/relationships/chart" Target="../charts/chart80.xml"/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10.png"/><Relationship Id="rId5" Type="http://schemas.microsoft.com/office/2014/relationships/chartEx" Target="../charts/chartEx20.xml"/><Relationship Id="rId4" Type="http://schemas.openxmlformats.org/officeDocument/2006/relationships/chart" Target="../charts/chart7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file:///C:\Users\System%20Analyst\Desktop\Training\Word%20Tips.docx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file:///C:\Users\System%20Analyst\Desktop\Training\Word%20ChatGPT.docx" TargetMode="External"/><Relationship Id="rId4" Type="http://schemas.openxmlformats.org/officeDocument/2006/relationships/hyperlink" Target="file:///C:\Users\System%20Analyst\Desktop\Training\Mail%20Merge.docx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0.xml"/><Relationship Id="rId2" Type="http://schemas.openxmlformats.org/officeDocument/2006/relationships/chart" Target="../charts/chart90.xml"/><Relationship Id="rId1" Type="http://schemas.openxmlformats.org/officeDocument/2006/relationships/slideLayout" Target="../slideLayouts/slideLayout70.xml"/><Relationship Id="rId5" Type="http://schemas.openxmlformats.org/officeDocument/2006/relationships/chart" Target="../charts/chart120.xml"/><Relationship Id="rId4" Type="http://schemas.openxmlformats.org/officeDocument/2006/relationships/chart" Target="../charts/chart1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hyperlink" Target="file:///C:\Users\System%20Analyst\Desktop\Training\ChatGPT.xlsm" TargetMode="External"/><Relationship Id="rId2" Type="http://schemas.openxmlformats.org/officeDocument/2006/relationships/hyperlink" Target="file:///C:\Users\System%20Analyst\Desktop\Training\Excel%20Tips.xlsx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hyperlink" Target="file:///C:\Users\System%20Analyst\Desktop\Training\Analytics.pdf" TargetMode="External"/><Relationship Id="rId4" Type="http://schemas.openxmlformats.org/officeDocument/2006/relationships/hyperlink" Target="file:///C:\Users\System%20Analyst\Desktop\Training\PivotTable.xlsx" TargetMode="Externa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0.xml"/><Relationship Id="rId2" Type="http://schemas.openxmlformats.org/officeDocument/2006/relationships/chart" Target="../charts/chart130.xml"/><Relationship Id="rId1" Type="http://schemas.openxmlformats.org/officeDocument/2006/relationships/slideLayout" Target="../slideLayouts/slideLayout70.xml"/><Relationship Id="rId5" Type="http://schemas.openxmlformats.org/officeDocument/2006/relationships/chart" Target="../charts/chart160.xml"/><Relationship Id="rId4" Type="http://schemas.openxmlformats.org/officeDocument/2006/relationships/chart" Target="../charts/chart15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0.xml"/><Relationship Id="rId3" Type="http://schemas.openxmlformats.org/officeDocument/2006/relationships/chart" Target="../charts/chart180.xml"/><Relationship Id="rId7" Type="http://schemas.openxmlformats.org/officeDocument/2006/relationships/chart" Target="../charts/chart220.xml"/><Relationship Id="rId2" Type="http://schemas.openxmlformats.org/officeDocument/2006/relationships/chart" Target="../charts/chart170.xml"/><Relationship Id="rId1" Type="http://schemas.openxmlformats.org/officeDocument/2006/relationships/slideLayout" Target="../slideLayouts/slideLayout70.xml"/><Relationship Id="rId6" Type="http://schemas.openxmlformats.org/officeDocument/2006/relationships/chart" Target="../charts/chart210.xml"/><Relationship Id="rId5" Type="http://schemas.openxmlformats.org/officeDocument/2006/relationships/chart" Target="../charts/chart200.xml"/><Relationship Id="rId10" Type="http://schemas.openxmlformats.org/officeDocument/2006/relationships/chart" Target="../charts/chart250.xml"/><Relationship Id="rId4" Type="http://schemas.openxmlformats.org/officeDocument/2006/relationships/chart" Target="../charts/chart190.xml"/><Relationship Id="rId9" Type="http://schemas.openxmlformats.org/officeDocument/2006/relationships/chart" Target="../charts/chart2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slide" Target="slide50.xml"/><Relationship Id="rId1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slide" Target="slide10.xml"/><Relationship Id="rId12" Type="http://schemas.openxmlformats.org/officeDocument/2006/relationships/image" Target="../media/image1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.xml"/><Relationship Id="rId16" Type="http://schemas.openxmlformats.org/officeDocument/2006/relationships/slide" Target="slide60.xml"/><Relationship Id="rId20" Type="http://schemas.openxmlformats.org/officeDocument/2006/relationships/image" Target="../media/image9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9.png"/><Relationship Id="rId11" Type="http://schemas.openxmlformats.org/officeDocument/2006/relationships/image" Target="../media/image60.png"/><Relationship Id="rId5" Type="http://schemas.openxmlformats.org/officeDocument/2006/relationships/image" Target="../media/image8.png"/><Relationship Id="rId15" Type="http://schemas.openxmlformats.org/officeDocument/2006/relationships/image" Target="../media/image12.png"/><Relationship Id="rId10" Type="http://schemas.openxmlformats.org/officeDocument/2006/relationships/slide" Target="slide40.xml"/><Relationship Id="rId19" Type="http://schemas.openxmlformats.org/officeDocument/2006/relationships/slide" Target="slide70.xml"/><Relationship Id="rId4" Type="http://schemas.openxmlformats.org/officeDocument/2006/relationships/slide" Target="slide9.xml"/><Relationship Id="rId9" Type="http://schemas.openxmlformats.org/officeDocument/2006/relationships/image" Target="../media/image10.png"/><Relationship Id="rId1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E75E33-01B8-49B9-A7FF-A5ABA69E37BA}"/>
              </a:ext>
            </a:extLst>
          </p:cNvPr>
          <p:cNvSpPr txBox="1">
            <a:spLocks/>
          </p:cNvSpPr>
          <p:nvPr/>
        </p:nvSpPr>
        <p:spPr>
          <a:xfrm>
            <a:off x="6096000" y="875263"/>
            <a:ext cx="5993520" cy="2990088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200" u="sng" dirty="0">
                <a:solidFill>
                  <a:srgbClr val="002060"/>
                </a:solidFill>
                <a:latin typeface="+mn-lt"/>
              </a:rPr>
              <a:t>Training Workshop</a:t>
            </a:r>
            <a:br>
              <a:rPr lang="en-US" sz="9600" dirty="0">
                <a:solidFill>
                  <a:srgbClr val="002060"/>
                </a:solidFill>
              </a:rPr>
            </a:br>
            <a:r>
              <a:rPr lang="en-US" sz="5400" dirty="0">
                <a:solidFill>
                  <a:srgbClr val="00206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dvanced IT Professional Skills</a:t>
            </a:r>
            <a:endParaRPr lang="en-US" sz="8000" dirty="0">
              <a:solidFill>
                <a:srgbClr val="00206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8CB2C-77A5-4544-9776-B23A3A043587}"/>
              </a:ext>
            </a:extLst>
          </p:cNvPr>
          <p:cNvSpPr txBox="1"/>
          <p:nvPr/>
        </p:nvSpPr>
        <p:spPr>
          <a:xfrm>
            <a:off x="8065008" y="4040028"/>
            <a:ext cx="389194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/>
              <a:t>MUHAMMAD TARIQ</a:t>
            </a:r>
          </a:p>
          <a:p>
            <a:pPr algn="r"/>
            <a:r>
              <a:rPr lang="en-US" dirty="0"/>
              <a:t>(System Analyst, Directorate of I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8E6BEE-622D-4D95-927C-E666D66A9F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804" y="5972798"/>
            <a:ext cx="6291501" cy="8229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958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rot="5400000">
            <a:off x="-594571" y="5471127"/>
            <a:ext cx="2155508" cy="131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82436" y="6551653"/>
            <a:ext cx="5100707" cy="1182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66"/>
          <p:cNvSpPr/>
          <p:nvPr/>
        </p:nvSpPr>
        <p:spPr>
          <a:xfrm flipV="1">
            <a:off x="442627" y="4115006"/>
            <a:ext cx="5122774" cy="2441401"/>
          </a:xfrm>
          <a:custGeom>
            <a:avLst/>
            <a:gdLst>
              <a:gd name="connsiteX0" fmla="*/ 2005560 w 4011114"/>
              <a:gd name="connsiteY0" fmla="*/ 0 h 4687825"/>
              <a:gd name="connsiteX1" fmla="*/ 3689576 w 4011114"/>
              <a:gd name="connsiteY1" fmla="*/ 1070965 h 4687825"/>
              <a:gd name="connsiteX2" fmla="*/ 3954585 w 4011114"/>
              <a:gd name="connsiteY2" fmla="*/ 2896489 h 4687825"/>
              <a:gd name="connsiteX3" fmla="*/ 2005557 w 4011114"/>
              <a:gd name="connsiteY3" fmla="*/ 2343913 h 4687825"/>
              <a:gd name="connsiteX4" fmla="*/ 2005560 w 4011114"/>
              <a:gd name="connsiteY4" fmla="*/ 0 h 4687825"/>
              <a:gd name="connsiteX0" fmla="*/ 2005560 w 4011114"/>
              <a:gd name="connsiteY0" fmla="*/ 0 h 4687825"/>
              <a:gd name="connsiteX1" fmla="*/ 3689576 w 4011114"/>
              <a:gd name="connsiteY1" fmla="*/ 1070965 h 4687825"/>
              <a:gd name="connsiteX2" fmla="*/ 3954585 w 4011114"/>
              <a:gd name="connsiteY2" fmla="*/ 2896489 h 4687825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0 w 2078802"/>
              <a:gd name="connsiteY0" fmla="*/ 0 h 2987929"/>
              <a:gd name="connsiteX1" fmla="*/ 1684016 w 2078802"/>
              <a:gd name="connsiteY1" fmla="*/ 1070965 h 2987929"/>
              <a:gd name="connsiteX2" fmla="*/ 1949025 w 2078802"/>
              <a:gd name="connsiteY2" fmla="*/ 2896489 h 2987929"/>
              <a:gd name="connsiteX3" fmla="*/ 0 w 2078802"/>
              <a:gd name="connsiteY3" fmla="*/ 0 h 2987929"/>
              <a:gd name="connsiteX0" fmla="*/ 1949025 w 2078802"/>
              <a:gd name="connsiteY0" fmla="*/ 2896489 h 2987929"/>
              <a:gd name="connsiteX1" fmla="*/ 0 w 2078802"/>
              <a:gd name="connsiteY1" fmla="*/ 0 h 2987929"/>
              <a:gd name="connsiteX2" fmla="*/ 1684016 w 2078802"/>
              <a:gd name="connsiteY2" fmla="*/ 1070965 h 2987929"/>
              <a:gd name="connsiteX3" fmla="*/ 2040465 w 2078802"/>
              <a:gd name="connsiteY3" fmla="*/ 2987929 h 2987929"/>
              <a:gd name="connsiteX0" fmla="*/ 0 w 3025823"/>
              <a:gd name="connsiteY0" fmla="*/ 0 h 4076706"/>
              <a:gd name="connsiteX1" fmla="*/ 1684016 w 3025823"/>
              <a:gd name="connsiteY1" fmla="*/ 1070965 h 4076706"/>
              <a:gd name="connsiteX2" fmla="*/ 1949025 w 3025823"/>
              <a:gd name="connsiteY2" fmla="*/ 2896489 h 4076706"/>
              <a:gd name="connsiteX3" fmla="*/ 0 w 3025823"/>
              <a:gd name="connsiteY3" fmla="*/ 0 h 4076706"/>
              <a:gd name="connsiteX0" fmla="*/ 1949025 w 3025823"/>
              <a:gd name="connsiteY0" fmla="*/ 2896489 h 4076706"/>
              <a:gd name="connsiteX1" fmla="*/ 0 w 3025823"/>
              <a:gd name="connsiteY1" fmla="*/ 0 h 4076706"/>
              <a:gd name="connsiteX2" fmla="*/ 1684016 w 3025823"/>
              <a:gd name="connsiteY2" fmla="*/ 1070965 h 4076706"/>
              <a:gd name="connsiteX3" fmla="*/ 2987486 w 3025823"/>
              <a:gd name="connsiteY3" fmla="*/ 4076706 h 4076706"/>
              <a:gd name="connsiteX0" fmla="*/ 0 w 3025823"/>
              <a:gd name="connsiteY0" fmla="*/ 0 h 4076706"/>
              <a:gd name="connsiteX1" fmla="*/ 1684016 w 3025823"/>
              <a:gd name="connsiteY1" fmla="*/ 1070965 h 4076706"/>
              <a:gd name="connsiteX2" fmla="*/ 1949025 w 3025823"/>
              <a:gd name="connsiteY2" fmla="*/ 2896489 h 4076706"/>
              <a:gd name="connsiteX3" fmla="*/ 0 w 3025823"/>
              <a:gd name="connsiteY3" fmla="*/ 0 h 4076706"/>
              <a:gd name="connsiteX0" fmla="*/ 1949025 w 3025823"/>
              <a:gd name="connsiteY0" fmla="*/ 2896489 h 4076706"/>
              <a:gd name="connsiteX1" fmla="*/ 0 w 3025823"/>
              <a:gd name="connsiteY1" fmla="*/ 0 h 4076706"/>
              <a:gd name="connsiteX2" fmla="*/ 1684016 w 3025823"/>
              <a:gd name="connsiteY2" fmla="*/ 1070965 h 4076706"/>
              <a:gd name="connsiteX3" fmla="*/ 2987486 w 3025823"/>
              <a:gd name="connsiteY3" fmla="*/ 4076706 h 4076706"/>
              <a:gd name="connsiteX4" fmla="*/ 1949025 w 3025823"/>
              <a:gd name="connsiteY4" fmla="*/ 2896489 h 4076706"/>
              <a:gd name="connsiteX0" fmla="*/ 0 w 2229694"/>
              <a:gd name="connsiteY0" fmla="*/ 0 h 3074983"/>
              <a:gd name="connsiteX1" fmla="*/ 1684016 w 2229694"/>
              <a:gd name="connsiteY1" fmla="*/ 1070965 h 3074983"/>
              <a:gd name="connsiteX2" fmla="*/ 1949025 w 2229694"/>
              <a:gd name="connsiteY2" fmla="*/ 2896489 h 3074983"/>
              <a:gd name="connsiteX3" fmla="*/ 0 w 2229694"/>
              <a:gd name="connsiteY3" fmla="*/ 0 h 3074983"/>
              <a:gd name="connsiteX0" fmla="*/ 1949025 w 2229694"/>
              <a:gd name="connsiteY0" fmla="*/ 2896489 h 3074983"/>
              <a:gd name="connsiteX1" fmla="*/ 0 w 2229694"/>
              <a:gd name="connsiteY1" fmla="*/ 0 h 3074983"/>
              <a:gd name="connsiteX2" fmla="*/ 1684016 w 2229694"/>
              <a:gd name="connsiteY2" fmla="*/ 1070965 h 3074983"/>
              <a:gd name="connsiteX3" fmla="*/ 1949025 w 2229694"/>
              <a:gd name="connsiteY3" fmla="*/ 2896489 h 3074983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684016 w 2078802"/>
              <a:gd name="connsiteY2" fmla="*/ 107096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775456 w 2078802"/>
              <a:gd name="connsiteY2" fmla="*/ 116240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684016 w 2078802"/>
              <a:gd name="connsiteY2" fmla="*/ 1070965 h 2896489"/>
              <a:gd name="connsiteX0" fmla="*/ 0 w 2078802"/>
              <a:gd name="connsiteY0" fmla="*/ 0 h 2896489"/>
              <a:gd name="connsiteX1" fmla="*/ 1684016 w 2078802"/>
              <a:gd name="connsiteY1" fmla="*/ 1070965 h 2896489"/>
              <a:gd name="connsiteX2" fmla="*/ 1949025 w 2078802"/>
              <a:gd name="connsiteY2" fmla="*/ 2896489 h 2896489"/>
              <a:gd name="connsiteX3" fmla="*/ 0 w 2078802"/>
              <a:gd name="connsiteY3" fmla="*/ 0 h 2896489"/>
              <a:gd name="connsiteX0" fmla="*/ 1684016 w 2078802"/>
              <a:gd name="connsiteY0" fmla="*/ 1070965 h 2896489"/>
              <a:gd name="connsiteX1" fmla="*/ 0 w 2078802"/>
              <a:gd name="connsiteY1" fmla="*/ 0 h 2896489"/>
              <a:gd name="connsiteX2" fmla="*/ 1775456 w 2078802"/>
              <a:gd name="connsiteY2" fmla="*/ 1162405 h 2896489"/>
              <a:gd name="connsiteX0" fmla="*/ 77651 w 2156453"/>
              <a:gd name="connsiteY0" fmla="*/ 809101 h 3705590"/>
              <a:gd name="connsiteX1" fmla="*/ 1761667 w 2156453"/>
              <a:gd name="connsiteY1" fmla="*/ 1880066 h 3705590"/>
              <a:gd name="connsiteX2" fmla="*/ 2026676 w 2156453"/>
              <a:gd name="connsiteY2" fmla="*/ 3705590 h 3705590"/>
              <a:gd name="connsiteX3" fmla="*/ 77651 w 2156453"/>
              <a:gd name="connsiteY3" fmla="*/ 809101 h 3705590"/>
              <a:gd name="connsiteX0" fmla="*/ 1761667 w 2156453"/>
              <a:gd name="connsiteY0" fmla="*/ 1880066 h 3705590"/>
              <a:gd name="connsiteX1" fmla="*/ 77651 w 2156453"/>
              <a:gd name="connsiteY1" fmla="*/ 809101 h 3705590"/>
              <a:gd name="connsiteX2" fmla="*/ 1295760 w 2156453"/>
              <a:gd name="connsiteY2" fmla="*/ 0 h 3705590"/>
              <a:gd name="connsiteX0" fmla="*/ 1126552 w 3205354"/>
              <a:gd name="connsiteY0" fmla="*/ 1147162 h 4043651"/>
              <a:gd name="connsiteX1" fmla="*/ 2810568 w 3205354"/>
              <a:gd name="connsiteY1" fmla="*/ 2218127 h 4043651"/>
              <a:gd name="connsiteX2" fmla="*/ 3075577 w 3205354"/>
              <a:gd name="connsiteY2" fmla="*/ 4043651 h 4043651"/>
              <a:gd name="connsiteX3" fmla="*/ 1126552 w 3205354"/>
              <a:gd name="connsiteY3" fmla="*/ 1147162 h 4043651"/>
              <a:gd name="connsiteX0" fmla="*/ 2810568 w 3205354"/>
              <a:gd name="connsiteY0" fmla="*/ 2218127 h 4043651"/>
              <a:gd name="connsiteX1" fmla="*/ 1126552 w 3205354"/>
              <a:gd name="connsiteY1" fmla="*/ 1147162 h 4043651"/>
              <a:gd name="connsiteX2" fmla="*/ 2344661 w 3205354"/>
              <a:gd name="connsiteY2" fmla="*/ 338061 h 4043651"/>
              <a:gd name="connsiteX3" fmla="*/ 0 w 3205354"/>
              <a:gd name="connsiteY3" fmla="*/ 448 h 4043651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1722747 w 3801549"/>
              <a:gd name="connsiteY1" fmla="*/ 1263655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291242 w 3801549"/>
              <a:gd name="connsiteY1" fmla="*/ 2638773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1722747 w 3801549"/>
              <a:gd name="connsiteY0" fmla="*/ 1263655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1722747 w 3801549"/>
              <a:gd name="connsiteY3" fmla="*/ 1263655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977475 w 3801549"/>
              <a:gd name="connsiteY0" fmla="*/ 223629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977475 w 3801549"/>
              <a:gd name="connsiteY3" fmla="*/ 223629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977475 w 3801549"/>
              <a:gd name="connsiteY0" fmla="*/ 223629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977475 w 3801549"/>
              <a:gd name="connsiteY3" fmla="*/ 223629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406763 w 3801549"/>
              <a:gd name="connsiteY0" fmla="*/ 2334620 h 4160144"/>
              <a:gd name="connsiteX1" fmla="*/ 2238676 w 3801549"/>
              <a:gd name="connsiteY1" fmla="*/ 1465236 h 4160144"/>
              <a:gd name="connsiteX2" fmla="*/ 2940856 w 3801549"/>
              <a:gd name="connsiteY2" fmla="*/ 454554 h 4160144"/>
              <a:gd name="connsiteX3" fmla="*/ 596195 w 3801549"/>
              <a:gd name="connsiteY3" fmla="*/ 116941 h 4160144"/>
              <a:gd name="connsiteX4" fmla="*/ 233842 w 3801549"/>
              <a:gd name="connsiteY4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406763 w 3801549"/>
              <a:gd name="connsiteY0" fmla="*/ 2334620 h 4160144"/>
              <a:gd name="connsiteX1" fmla="*/ 2779914 w 3801549"/>
              <a:gd name="connsiteY1" fmla="*/ 293996 h 4160144"/>
              <a:gd name="connsiteX2" fmla="*/ 2238676 w 3801549"/>
              <a:gd name="connsiteY2" fmla="*/ 1465236 h 4160144"/>
              <a:gd name="connsiteX3" fmla="*/ 2940856 w 3801549"/>
              <a:gd name="connsiteY3" fmla="*/ 454554 h 4160144"/>
              <a:gd name="connsiteX4" fmla="*/ 596195 w 3801549"/>
              <a:gd name="connsiteY4" fmla="*/ 116941 h 4160144"/>
              <a:gd name="connsiteX5" fmla="*/ 233842 w 3801549"/>
              <a:gd name="connsiteY5" fmla="*/ 1156198 h 4160144"/>
              <a:gd name="connsiteX0" fmla="*/ 304352 w 3801549"/>
              <a:gd name="connsiteY0" fmla="*/ 3505078 h 4160144"/>
              <a:gd name="connsiteX1" fmla="*/ 3406763 w 3801549"/>
              <a:gd name="connsiteY1" fmla="*/ 2334620 h 4160144"/>
              <a:gd name="connsiteX2" fmla="*/ 3671772 w 3801549"/>
              <a:gd name="connsiteY2" fmla="*/ 4160144 h 4160144"/>
              <a:gd name="connsiteX3" fmla="*/ 304352 w 3801549"/>
              <a:gd name="connsiteY3" fmla="*/ 3505078 h 4160144"/>
              <a:gd name="connsiteX0" fmla="*/ 3743476 w 3801549"/>
              <a:gd name="connsiteY0" fmla="*/ 1631936 h 4160144"/>
              <a:gd name="connsiteX1" fmla="*/ 2779914 w 3801549"/>
              <a:gd name="connsiteY1" fmla="*/ 293996 h 4160144"/>
              <a:gd name="connsiteX2" fmla="*/ 2238676 w 3801549"/>
              <a:gd name="connsiteY2" fmla="*/ 1465236 h 4160144"/>
              <a:gd name="connsiteX3" fmla="*/ 2940856 w 3801549"/>
              <a:gd name="connsiteY3" fmla="*/ 454554 h 4160144"/>
              <a:gd name="connsiteX4" fmla="*/ 596195 w 3801549"/>
              <a:gd name="connsiteY4" fmla="*/ 116941 h 4160144"/>
              <a:gd name="connsiteX5" fmla="*/ 233842 w 3801549"/>
              <a:gd name="connsiteY5" fmla="*/ 1156198 h 4160144"/>
              <a:gd name="connsiteX0" fmla="*/ 304352 w 4190920"/>
              <a:gd name="connsiteY0" fmla="*/ 3505078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304352 w 4190920"/>
              <a:gd name="connsiteY4" fmla="*/ 3505078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994553 w 4190920"/>
              <a:gd name="connsiteY0" fmla="*/ 2098770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994553 w 4190920"/>
              <a:gd name="connsiteY4" fmla="*/ 2098770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447158 w 4190920"/>
              <a:gd name="connsiteY4" fmla="*/ 3660564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538598 w 4190920"/>
              <a:gd name="connsiteY4" fmla="*/ 3752004 h 4160144"/>
              <a:gd name="connsiteX0" fmla="*/ 3743476 w 4190920"/>
              <a:gd name="connsiteY0" fmla="*/ 1631936 h 4160144"/>
              <a:gd name="connsiteX1" fmla="*/ 2779914 w 4190920"/>
              <a:gd name="connsiteY1" fmla="*/ 293996 h 4160144"/>
              <a:gd name="connsiteX2" fmla="*/ 2238676 w 4190920"/>
              <a:gd name="connsiteY2" fmla="*/ 1465236 h 4160144"/>
              <a:gd name="connsiteX3" fmla="*/ 2940856 w 4190920"/>
              <a:gd name="connsiteY3" fmla="*/ 454554 h 4160144"/>
              <a:gd name="connsiteX4" fmla="*/ 596195 w 4190920"/>
              <a:gd name="connsiteY4" fmla="*/ 116941 h 4160144"/>
              <a:gd name="connsiteX5" fmla="*/ 233842 w 4190920"/>
              <a:gd name="connsiteY5" fmla="*/ 1156198 h 4160144"/>
              <a:gd name="connsiteX0" fmla="*/ 447158 w 4190920"/>
              <a:gd name="connsiteY0" fmla="*/ 3660564 h 4160144"/>
              <a:gd name="connsiteX1" fmla="*/ 3406763 w 4190920"/>
              <a:gd name="connsiteY1" fmla="*/ 2334620 h 4160144"/>
              <a:gd name="connsiteX2" fmla="*/ 3739799 w 4190920"/>
              <a:gd name="connsiteY2" fmla="*/ 1256178 h 4160144"/>
              <a:gd name="connsiteX3" fmla="*/ 3671772 w 4190920"/>
              <a:gd name="connsiteY3" fmla="*/ 4160144 h 4160144"/>
              <a:gd name="connsiteX4" fmla="*/ 538598 w 4190920"/>
              <a:gd name="connsiteY4" fmla="*/ 3752004 h 4160144"/>
              <a:gd name="connsiteX0" fmla="*/ 2779914 w 4190920"/>
              <a:gd name="connsiteY0" fmla="*/ 293996 h 4160144"/>
              <a:gd name="connsiteX1" fmla="*/ 2238676 w 4190920"/>
              <a:gd name="connsiteY1" fmla="*/ 1465236 h 4160144"/>
              <a:gd name="connsiteX2" fmla="*/ 2940856 w 4190920"/>
              <a:gd name="connsiteY2" fmla="*/ 454554 h 4160144"/>
              <a:gd name="connsiteX3" fmla="*/ 596195 w 4190920"/>
              <a:gd name="connsiteY3" fmla="*/ 116941 h 4160144"/>
              <a:gd name="connsiteX4" fmla="*/ 233842 w 4190920"/>
              <a:gd name="connsiteY4" fmla="*/ 1156198 h 4160144"/>
              <a:gd name="connsiteX0" fmla="*/ 447158 w 4190920"/>
              <a:gd name="connsiteY0" fmla="*/ 3543623 h 4043203"/>
              <a:gd name="connsiteX1" fmla="*/ 3406763 w 4190920"/>
              <a:gd name="connsiteY1" fmla="*/ 2217679 h 4043203"/>
              <a:gd name="connsiteX2" fmla="*/ 3739799 w 4190920"/>
              <a:gd name="connsiteY2" fmla="*/ 1139237 h 4043203"/>
              <a:gd name="connsiteX3" fmla="*/ 3671772 w 4190920"/>
              <a:gd name="connsiteY3" fmla="*/ 4043203 h 4043203"/>
              <a:gd name="connsiteX4" fmla="*/ 538598 w 4190920"/>
              <a:gd name="connsiteY4" fmla="*/ 3635063 h 4043203"/>
              <a:gd name="connsiteX0" fmla="*/ 2779914 w 4190920"/>
              <a:gd name="connsiteY0" fmla="*/ 177055 h 4043203"/>
              <a:gd name="connsiteX1" fmla="*/ 2238676 w 4190920"/>
              <a:gd name="connsiteY1" fmla="*/ 1348295 h 4043203"/>
              <a:gd name="connsiteX2" fmla="*/ 596195 w 4190920"/>
              <a:gd name="connsiteY2" fmla="*/ 0 h 4043203"/>
              <a:gd name="connsiteX3" fmla="*/ 233842 w 4190920"/>
              <a:gd name="connsiteY3" fmla="*/ 1039257 h 4043203"/>
              <a:gd name="connsiteX0" fmla="*/ 447158 w 4190920"/>
              <a:gd name="connsiteY0" fmla="*/ 3543623 h 4043203"/>
              <a:gd name="connsiteX1" fmla="*/ 3739799 w 4190920"/>
              <a:gd name="connsiteY1" fmla="*/ 1139237 h 4043203"/>
              <a:gd name="connsiteX2" fmla="*/ 3671772 w 4190920"/>
              <a:gd name="connsiteY2" fmla="*/ 4043203 h 4043203"/>
              <a:gd name="connsiteX3" fmla="*/ 538598 w 4190920"/>
              <a:gd name="connsiteY3" fmla="*/ 3635063 h 4043203"/>
              <a:gd name="connsiteX0" fmla="*/ 2779914 w 4190920"/>
              <a:gd name="connsiteY0" fmla="*/ 177055 h 4043203"/>
              <a:gd name="connsiteX1" fmla="*/ 2238676 w 4190920"/>
              <a:gd name="connsiteY1" fmla="*/ 1348295 h 4043203"/>
              <a:gd name="connsiteX2" fmla="*/ 596195 w 4190920"/>
              <a:gd name="connsiteY2" fmla="*/ 0 h 4043203"/>
              <a:gd name="connsiteX3" fmla="*/ 233842 w 4190920"/>
              <a:gd name="connsiteY3" fmla="*/ 1039257 h 4043203"/>
              <a:gd name="connsiteX0" fmla="*/ 447158 w 3755039"/>
              <a:gd name="connsiteY0" fmla="*/ 3543623 h 3635063"/>
              <a:gd name="connsiteX1" fmla="*/ 3739799 w 3755039"/>
              <a:gd name="connsiteY1" fmla="*/ 1139237 h 3635063"/>
              <a:gd name="connsiteX2" fmla="*/ 538598 w 3755039"/>
              <a:gd name="connsiteY2" fmla="*/ 3635063 h 3635063"/>
              <a:gd name="connsiteX0" fmla="*/ 2779914 w 3755039"/>
              <a:gd name="connsiteY0" fmla="*/ 177055 h 3635063"/>
              <a:gd name="connsiteX1" fmla="*/ 2238676 w 3755039"/>
              <a:gd name="connsiteY1" fmla="*/ 1348295 h 3635063"/>
              <a:gd name="connsiteX2" fmla="*/ 596195 w 3755039"/>
              <a:gd name="connsiteY2" fmla="*/ 0 h 3635063"/>
              <a:gd name="connsiteX3" fmla="*/ 233842 w 3755039"/>
              <a:gd name="connsiteY3" fmla="*/ 1039257 h 3635063"/>
              <a:gd name="connsiteX0" fmla="*/ 447158 w 4287817"/>
              <a:gd name="connsiteY0" fmla="*/ 3543623 h 3635063"/>
              <a:gd name="connsiteX1" fmla="*/ 3739799 w 4287817"/>
              <a:gd name="connsiteY1" fmla="*/ 1139237 h 3635063"/>
              <a:gd name="connsiteX2" fmla="*/ 3395019 w 4287817"/>
              <a:gd name="connsiteY2" fmla="*/ 3464012 h 3635063"/>
              <a:gd name="connsiteX3" fmla="*/ 538598 w 4287817"/>
              <a:gd name="connsiteY3" fmla="*/ 3635063 h 3635063"/>
              <a:gd name="connsiteX0" fmla="*/ 2779914 w 4287817"/>
              <a:gd name="connsiteY0" fmla="*/ 177055 h 3635063"/>
              <a:gd name="connsiteX1" fmla="*/ 2238676 w 4287817"/>
              <a:gd name="connsiteY1" fmla="*/ 1348295 h 3635063"/>
              <a:gd name="connsiteX2" fmla="*/ 596195 w 4287817"/>
              <a:gd name="connsiteY2" fmla="*/ 0 h 3635063"/>
              <a:gd name="connsiteX3" fmla="*/ 233842 w 4287817"/>
              <a:gd name="connsiteY3" fmla="*/ 1039257 h 3635063"/>
              <a:gd name="connsiteX0" fmla="*/ 889925 w 4730584"/>
              <a:gd name="connsiteY0" fmla="*/ 3543623 h 3635063"/>
              <a:gd name="connsiteX1" fmla="*/ 548773 w 4730584"/>
              <a:gd name="connsiteY1" fmla="*/ 1927618 h 3635063"/>
              <a:gd name="connsiteX2" fmla="*/ 4182566 w 4730584"/>
              <a:gd name="connsiteY2" fmla="*/ 1139237 h 3635063"/>
              <a:gd name="connsiteX3" fmla="*/ 3837786 w 4730584"/>
              <a:gd name="connsiteY3" fmla="*/ 3464012 h 3635063"/>
              <a:gd name="connsiteX4" fmla="*/ 981365 w 4730584"/>
              <a:gd name="connsiteY4" fmla="*/ 3635063 h 3635063"/>
              <a:gd name="connsiteX0" fmla="*/ 3222681 w 4730584"/>
              <a:gd name="connsiteY0" fmla="*/ 177055 h 3635063"/>
              <a:gd name="connsiteX1" fmla="*/ 2681443 w 4730584"/>
              <a:gd name="connsiteY1" fmla="*/ 1348295 h 3635063"/>
              <a:gd name="connsiteX2" fmla="*/ 1038962 w 4730584"/>
              <a:gd name="connsiteY2" fmla="*/ 0 h 3635063"/>
              <a:gd name="connsiteX3" fmla="*/ 676609 w 4730584"/>
              <a:gd name="connsiteY3" fmla="*/ 1039257 h 3635063"/>
              <a:gd name="connsiteX0" fmla="*/ 889925 w 4730584"/>
              <a:gd name="connsiteY0" fmla="*/ 3543623 h 4575217"/>
              <a:gd name="connsiteX1" fmla="*/ 548773 w 4730584"/>
              <a:gd name="connsiteY1" fmla="*/ 1927618 h 4575217"/>
              <a:gd name="connsiteX2" fmla="*/ 4182566 w 4730584"/>
              <a:gd name="connsiteY2" fmla="*/ 1139237 h 4575217"/>
              <a:gd name="connsiteX3" fmla="*/ 3837786 w 4730584"/>
              <a:gd name="connsiteY3" fmla="*/ 3464012 h 4575217"/>
              <a:gd name="connsiteX4" fmla="*/ 1224621 w 4730584"/>
              <a:gd name="connsiteY4" fmla="*/ 4575217 h 4575217"/>
              <a:gd name="connsiteX0" fmla="*/ 3222681 w 4730584"/>
              <a:gd name="connsiteY0" fmla="*/ 177055 h 4575217"/>
              <a:gd name="connsiteX1" fmla="*/ 2681443 w 4730584"/>
              <a:gd name="connsiteY1" fmla="*/ 1348295 h 4575217"/>
              <a:gd name="connsiteX2" fmla="*/ 1038962 w 4730584"/>
              <a:gd name="connsiteY2" fmla="*/ 0 h 4575217"/>
              <a:gd name="connsiteX3" fmla="*/ 676609 w 4730584"/>
              <a:gd name="connsiteY3" fmla="*/ 1039257 h 4575217"/>
              <a:gd name="connsiteX0" fmla="*/ 582583 w 4792053"/>
              <a:gd name="connsiteY0" fmla="*/ 3601073 h 4575217"/>
              <a:gd name="connsiteX1" fmla="*/ 610242 w 4792053"/>
              <a:gd name="connsiteY1" fmla="*/ 1927618 h 4575217"/>
              <a:gd name="connsiteX2" fmla="*/ 4244035 w 4792053"/>
              <a:gd name="connsiteY2" fmla="*/ 1139237 h 4575217"/>
              <a:gd name="connsiteX3" fmla="*/ 3899255 w 4792053"/>
              <a:gd name="connsiteY3" fmla="*/ 3464012 h 4575217"/>
              <a:gd name="connsiteX4" fmla="*/ 1286090 w 4792053"/>
              <a:gd name="connsiteY4" fmla="*/ 4575217 h 4575217"/>
              <a:gd name="connsiteX0" fmla="*/ 3284150 w 4792053"/>
              <a:gd name="connsiteY0" fmla="*/ 177055 h 4575217"/>
              <a:gd name="connsiteX1" fmla="*/ 2742912 w 4792053"/>
              <a:gd name="connsiteY1" fmla="*/ 1348295 h 4575217"/>
              <a:gd name="connsiteX2" fmla="*/ 1100431 w 4792053"/>
              <a:gd name="connsiteY2" fmla="*/ 0 h 4575217"/>
              <a:gd name="connsiteX3" fmla="*/ 738078 w 4792053"/>
              <a:gd name="connsiteY3" fmla="*/ 1039257 h 4575217"/>
              <a:gd name="connsiteX0" fmla="*/ 437394 w 4287599"/>
              <a:gd name="connsiteY0" fmla="*/ 3601073 h 4575217"/>
              <a:gd name="connsiteX1" fmla="*/ 465053 w 4287599"/>
              <a:gd name="connsiteY1" fmla="*/ 1927618 h 4575217"/>
              <a:gd name="connsiteX2" fmla="*/ 3227710 w 4287599"/>
              <a:gd name="connsiteY2" fmla="*/ 2609509 h 4575217"/>
              <a:gd name="connsiteX3" fmla="*/ 3754066 w 4287599"/>
              <a:gd name="connsiteY3" fmla="*/ 3464012 h 4575217"/>
              <a:gd name="connsiteX4" fmla="*/ 1140901 w 4287599"/>
              <a:gd name="connsiteY4" fmla="*/ 4575217 h 4575217"/>
              <a:gd name="connsiteX0" fmla="*/ 3138961 w 4287599"/>
              <a:gd name="connsiteY0" fmla="*/ 177055 h 4575217"/>
              <a:gd name="connsiteX1" fmla="*/ 2597723 w 4287599"/>
              <a:gd name="connsiteY1" fmla="*/ 1348295 h 4575217"/>
              <a:gd name="connsiteX2" fmla="*/ 955242 w 4287599"/>
              <a:gd name="connsiteY2" fmla="*/ 0 h 4575217"/>
              <a:gd name="connsiteX3" fmla="*/ 592889 w 4287599"/>
              <a:gd name="connsiteY3" fmla="*/ 1039257 h 4575217"/>
              <a:gd name="connsiteX0" fmla="*/ 437394 w 3340351"/>
              <a:gd name="connsiteY0" fmla="*/ 3601073 h 4575217"/>
              <a:gd name="connsiteX1" fmla="*/ 465053 w 3340351"/>
              <a:gd name="connsiteY1" fmla="*/ 1927618 h 4575217"/>
              <a:gd name="connsiteX2" fmla="*/ 3227710 w 3340351"/>
              <a:gd name="connsiteY2" fmla="*/ 2609509 h 4575217"/>
              <a:gd name="connsiteX3" fmla="*/ 1140901 w 3340351"/>
              <a:gd name="connsiteY3" fmla="*/ 4575217 h 4575217"/>
              <a:gd name="connsiteX0" fmla="*/ 3138961 w 3340351"/>
              <a:gd name="connsiteY0" fmla="*/ 177055 h 4575217"/>
              <a:gd name="connsiteX1" fmla="*/ 2597723 w 3340351"/>
              <a:gd name="connsiteY1" fmla="*/ 1348295 h 4575217"/>
              <a:gd name="connsiteX2" fmla="*/ 955242 w 3340351"/>
              <a:gd name="connsiteY2" fmla="*/ 0 h 4575217"/>
              <a:gd name="connsiteX3" fmla="*/ 592889 w 3340351"/>
              <a:gd name="connsiteY3" fmla="*/ 1039257 h 4575217"/>
              <a:gd name="connsiteX0" fmla="*/ 437394 w 3227710"/>
              <a:gd name="connsiteY0" fmla="*/ 3601073 h 3601073"/>
              <a:gd name="connsiteX1" fmla="*/ 465053 w 3227710"/>
              <a:gd name="connsiteY1" fmla="*/ 1927618 h 3601073"/>
              <a:gd name="connsiteX2" fmla="*/ 3227710 w 3227710"/>
              <a:gd name="connsiteY2" fmla="*/ 2609509 h 3601073"/>
              <a:gd name="connsiteX0" fmla="*/ 3138961 w 3227710"/>
              <a:gd name="connsiteY0" fmla="*/ 177055 h 3601073"/>
              <a:gd name="connsiteX1" fmla="*/ 2597723 w 3227710"/>
              <a:gd name="connsiteY1" fmla="*/ 1348295 h 3601073"/>
              <a:gd name="connsiteX2" fmla="*/ 955242 w 3227710"/>
              <a:gd name="connsiteY2" fmla="*/ 0 h 3601073"/>
              <a:gd name="connsiteX3" fmla="*/ 592889 w 3227710"/>
              <a:gd name="connsiteY3" fmla="*/ 1039257 h 3601073"/>
              <a:gd name="connsiteX0" fmla="*/ 417757 w 3119324"/>
              <a:gd name="connsiteY0" fmla="*/ 3601073 h 4901680"/>
              <a:gd name="connsiteX1" fmla="*/ 445416 w 3119324"/>
              <a:gd name="connsiteY1" fmla="*/ 1927618 h 4901680"/>
              <a:gd name="connsiteX2" fmla="*/ 3090256 w 3119324"/>
              <a:gd name="connsiteY2" fmla="*/ 4890066 h 4901680"/>
              <a:gd name="connsiteX0" fmla="*/ 3119324 w 3119324"/>
              <a:gd name="connsiteY0" fmla="*/ 177055 h 4901680"/>
              <a:gd name="connsiteX1" fmla="*/ 2578086 w 3119324"/>
              <a:gd name="connsiteY1" fmla="*/ 1348295 h 4901680"/>
              <a:gd name="connsiteX2" fmla="*/ 935605 w 3119324"/>
              <a:gd name="connsiteY2" fmla="*/ 0 h 4901680"/>
              <a:gd name="connsiteX3" fmla="*/ 573252 w 3119324"/>
              <a:gd name="connsiteY3" fmla="*/ 1039257 h 4901680"/>
              <a:gd name="connsiteX0" fmla="*/ 417757 w 3332007"/>
              <a:gd name="connsiteY0" fmla="*/ 3601073 h 4890066"/>
              <a:gd name="connsiteX1" fmla="*/ 445416 w 3332007"/>
              <a:gd name="connsiteY1" fmla="*/ 1927618 h 4890066"/>
              <a:gd name="connsiteX2" fmla="*/ 3090256 w 3332007"/>
              <a:gd name="connsiteY2" fmla="*/ 4890066 h 4890066"/>
              <a:gd name="connsiteX0" fmla="*/ 3119324 w 3332007"/>
              <a:gd name="connsiteY0" fmla="*/ 177055 h 4890066"/>
              <a:gd name="connsiteX1" fmla="*/ 2578086 w 3332007"/>
              <a:gd name="connsiteY1" fmla="*/ 1348295 h 4890066"/>
              <a:gd name="connsiteX2" fmla="*/ 935605 w 3332007"/>
              <a:gd name="connsiteY2" fmla="*/ 0 h 4890066"/>
              <a:gd name="connsiteX3" fmla="*/ 573252 w 3332007"/>
              <a:gd name="connsiteY3" fmla="*/ 1039257 h 4890066"/>
              <a:gd name="connsiteX0" fmla="*/ 78347 w 2779914"/>
              <a:gd name="connsiteY0" fmla="*/ 3601073 h 4890066"/>
              <a:gd name="connsiteX1" fmla="*/ 2750846 w 2779914"/>
              <a:gd name="connsiteY1" fmla="*/ 4890066 h 4890066"/>
              <a:gd name="connsiteX0" fmla="*/ 2779914 w 2779914"/>
              <a:gd name="connsiteY0" fmla="*/ 177055 h 4890066"/>
              <a:gd name="connsiteX1" fmla="*/ 2238676 w 2779914"/>
              <a:gd name="connsiteY1" fmla="*/ 1348295 h 4890066"/>
              <a:gd name="connsiteX2" fmla="*/ 596195 w 2779914"/>
              <a:gd name="connsiteY2" fmla="*/ 0 h 4890066"/>
              <a:gd name="connsiteX3" fmla="*/ 233842 w 2779914"/>
              <a:gd name="connsiteY3" fmla="*/ 1039257 h 4890066"/>
              <a:gd name="connsiteX0" fmla="*/ 78347 w 2779914"/>
              <a:gd name="connsiteY0" fmla="*/ 3601073 h 3601073"/>
              <a:gd name="connsiteX1" fmla="*/ 2355691 w 2779914"/>
              <a:gd name="connsiteY1" fmla="*/ 1330777 h 3601073"/>
              <a:gd name="connsiteX0" fmla="*/ 2779914 w 2779914"/>
              <a:gd name="connsiteY0" fmla="*/ 177055 h 3601073"/>
              <a:gd name="connsiteX1" fmla="*/ 2238676 w 2779914"/>
              <a:gd name="connsiteY1" fmla="*/ 1348295 h 3601073"/>
              <a:gd name="connsiteX2" fmla="*/ 596195 w 2779914"/>
              <a:gd name="connsiteY2" fmla="*/ 0 h 3601073"/>
              <a:gd name="connsiteX3" fmla="*/ 233842 w 2779914"/>
              <a:gd name="connsiteY3" fmla="*/ 1039257 h 3601073"/>
              <a:gd name="connsiteX0" fmla="*/ 78347 w 2966676"/>
              <a:gd name="connsiteY0" fmla="*/ 3601073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03611 w 2966676"/>
              <a:gd name="connsiteY0" fmla="*/ 2155511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40848 w 2966676"/>
              <a:gd name="connsiteY0" fmla="*/ 2127098 h 4371306"/>
              <a:gd name="connsiteX1" fmla="*/ 2355691 w 2966676"/>
              <a:gd name="connsiteY1" fmla="*/ 1330777 h 4371306"/>
              <a:gd name="connsiteX0" fmla="*/ 2779914 w 2966676"/>
              <a:gd name="connsiteY0" fmla="*/ 177055 h 4371306"/>
              <a:gd name="connsiteX1" fmla="*/ 2238676 w 2966676"/>
              <a:gd name="connsiteY1" fmla="*/ 1348295 h 4371306"/>
              <a:gd name="connsiteX2" fmla="*/ 596195 w 2966676"/>
              <a:gd name="connsiteY2" fmla="*/ 0 h 4371306"/>
              <a:gd name="connsiteX3" fmla="*/ 233842 w 2966676"/>
              <a:gd name="connsiteY3" fmla="*/ 1039257 h 4371306"/>
              <a:gd name="connsiteX0" fmla="*/ 1140848 w 2779914"/>
              <a:gd name="connsiteY0" fmla="*/ 2127098 h 3761055"/>
              <a:gd name="connsiteX1" fmla="*/ 2355691 w 2779914"/>
              <a:gd name="connsiteY1" fmla="*/ 1330777 h 3761055"/>
              <a:gd name="connsiteX0" fmla="*/ 2779914 w 2779914"/>
              <a:gd name="connsiteY0" fmla="*/ 177055 h 3761055"/>
              <a:gd name="connsiteX1" fmla="*/ 2238676 w 2779914"/>
              <a:gd name="connsiteY1" fmla="*/ 1348295 h 3761055"/>
              <a:gd name="connsiteX2" fmla="*/ 596195 w 2779914"/>
              <a:gd name="connsiteY2" fmla="*/ 0 h 3761055"/>
              <a:gd name="connsiteX3" fmla="*/ 233842 w 2779914"/>
              <a:gd name="connsiteY3" fmla="*/ 1039257 h 3761055"/>
              <a:gd name="connsiteX0" fmla="*/ 1140848 w 2779914"/>
              <a:gd name="connsiteY0" fmla="*/ 2127098 h 4334369"/>
              <a:gd name="connsiteX1" fmla="*/ 2313933 w 2779914"/>
              <a:gd name="connsiteY1" fmla="*/ 1904091 h 4334369"/>
              <a:gd name="connsiteX0" fmla="*/ 2779914 w 2779914"/>
              <a:gd name="connsiteY0" fmla="*/ 177055 h 4334369"/>
              <a:gd name="connsiteX1" fmla="*/ 2238676 w 2779914"/>
              <a:gd name="connsiteY1" fmla="*/ 1348295 h 4334369"/>
              <a:gd name="connsiteX2" fmla="*/ 596195 w 2779914"/>
              <a:gd name="connsiteY2" fmla="*/ 0 h 4334369"/>
              <a:gd name="connsiteX3" fmla="*/ 233842 w 2779914"/>
              <a:gd name="connsiteY3" fmla="*/ 1039257 h 4334369"/>
              <a:gd name="connsiteX0" fmla="*/ 1140848 w 2779914"/>
              <a:gd name="connsiteY0" fmla="*/ 2127098 h 4459235"/>
              <a:gd name="connsiteX1" fmla="*/ 1239873 w 2779914"/>
              <a:gd name="connsiteY1" fmla="*/ 2028957 h 4459235"/>
              <a:gd name="connsiteX0" fmla="*/ 2779914 w 2779914"/>
              <a:gd name="connsiteY0" fmla="*/ 177055 h 4459235"/>
              <a:gd name="connsiteX1" fmla="*/ 2238676 w 2779914"/>
              <a:gd name="connsiteY1" fmla="*/ 1348295 h 4459235"/>
              <a:gd name="connsiteX2" fmla="*/ 596195 w 2779914"/>
              <a:gd name="connsiteY2" fmla="*/ 0 h 4459235"/>
              <a:gd name="connsiteX3" fmla="*/ 233842 w 2779914"/>
              <a:gd name="connsiteY3" fmla="*/ 1039257 h 4459235"/>
              <a:gd name="connsiteX0" fmla="*/ 1971381 w 3610447"/>
              <a:gd name="connsiteY0" fmla="*/ 2127098 h 3611958"/>
              <a:gd name="connsiteX1" fmla="*/ 988627 w 3610447"/>
              <a:gd name="connsiteY1" fmla="*/ 1181680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971381 w 3610447"/>
              <a:gd name="connsiteY0" fmla="*/ 2127098 h 3611958"/>
              <a:gd name="connsiteX1" fmla="*/ 988627 w 3610447"/>
              <a:gd name="connsiteY1" fmla="*/ 1181680 h 3611958"/>
              <a:gd name="connsiteX2" fmla="*/ 1971381 w 3610447"/>
              <a:gd name="connsiteY2" fmla="*/ 2127098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761192 w 3610447"/>
              <a:gd name="connsiteY0" fmla="*/ 1143812 h 3611958"/>
              <a:gd name="connsiteX1" fmla="*/ 988627 w 3610447"/>
              <a:gd name="connsiteY1" fmla="*/ 1181680 h 3611958"/>
              <a:gd name="connsiteX2" fmla="*/ 1761192 w 3610447"/>
              <a:gd name="connsiteY2" fmla="*/ 1143812 h 3611958"/>
              <a:gd name="connsiteX0" fmla="*/ 3610447 w 3610447"/>
              <a:gd name="connsiteY0" fmla="*/ 177055 h 3611958"/>
              <a:gd name="connsiteX1" fmla="*/ 3069209 w 3610447"/>
              <a:gd name="connsiteY1" fmla="*/ 1348295 h 3611958"/>
              <a:gd name="connsiteX2" fmla="*/ 1426728 w 3610447"/>
              <a:gd name="connsiteY2" fmla="*/ 0 h 3611958"/>
              <a:gd name="connsiteX3" fmla="*/ 1064375 w 3610447"/>
              <a:gd name="connsiteY3" fmla="*/ 1039257 h 3611958"/>
              <a:gd name="connsiteX0" fmla="*/ 1761192 w 3610447"/>
              <a:gd name="connsiteY0" fmla="*/ 1143812 h 3755724"/>
              <a:gd name="connsiteX1" fmla="*/ 988627 w 3610447"/>
              <a:gd name="connsiteY1" fmla="*/ 1181680 h 3755724"/>
              <a:gd name="connsiteX2" fmla="*/ 1347009 w 3610447"/>
              <a:gd name="connsiteY2" fmla="*/ 3755724 h 3755724"/>
              <a:gd name="connsiteX3" fmla="*/ 1761192 w 3610447"/>
              <a:gd name="connsiteY3" fmla="*/ 1143812 h 3755724"/>
              <a:gd name="connsiteX0" fmla="*/ 3610447 w 3610447"/>
              <a:gd name="connsiteY0" fmla="*/ 177055 h 3755724"/>
              <a:gd name="connsiteX1" fmla="*/ 3069209 w 3610447"/>
              <a:gd name="connsiteY1" fmla="*/ 1348295 h 3755724"/>
              <a:gd name="connsiteX2" fmla="*/ 1426728 w 3610447"/>
              <a:gd name="connsiteY2" fmla="*/ 0 h 3755724"/>
              <a:gd name="connsiteX3" fmla="*/ 1064375 w 3610447"/>
              <a:gd name="connsiteY3" fmla="*/ 1039257 h 3755724"/>
              <a:gd name="connsiteX0" fmla="*/ 1761192 w 3610447"/>
              <a:gd name="connsiteY0" fmla="*/ 1143812 h 4941876"/>
              <a:gd name="connsiteX1" fmla="*/ 988627 w 3610447"/>
              <a:gd name="connsiteY1" fmla="*/ 1181680 h 4941876"/>
              <a:gd name="connsiteX2" fmla="*/ 1876059 w 3610447"/>
              <a:gd name="connsiteY2" fmla="*/ 4941876 h 4941876"/>
              <a:gd name="connsiteX3" fmla="*/ 1347009 w 3610447"/>
              <a:gd name="connsiteY3" fmla="*/ 3755724 h 4941876"/>
              <a:gd name="connsiteX4" fmla="*/ 1761192 w 3610447"/>
              <a:gd name="connsiteY4" fmla="*/ 1143812 h 4941876"/>
              <a:gd name="connsiteX0" fmla="*/ 3610447 w 3610447"/>
              <a:gd name="connsiteY0" fmla="*/ 177055 h 4941876"/>
              <a:gd name="connsiteX1" fmla="*/ 3069209 w 3610447"/>
              <a:gd name="connsiteY1" fmla="*/ 1348295 h 4941876"/>
              <a:gd name="connsiteX2" fmla="*/ 1426728 w 3610447"/>
              <a:gd name="connsiteY2" fmla="*/ 0 h 4941876"/>
              <a:gd name="connsiteX3" fmla="*/ 1064375 w 3610447"/>
              <a:gd name="connsiteY3" fmla="*/ 1039257 h 4941876"/>
              <a:gd name="connsiteX0" fmla="*/ 1761192 w 3610447"/>
              <a:gd name="connsiteY0" fmla="*/ 1143812 h 4941876"/>
              <a:gd name="connsiteX1" fmla="*/ 988627 w 3610447"/>
              <a:gd name="connsiteY1" fmla="*/ 1181680 h 4941876"/>
              <a:gd name="connsiteX2" fmla="*/ 923710 w 3610447"/>
              <a:gd name="connsiteY2" fmla="*/ 3204786 h 4941876"/>
              <a:gd name="connsiteX3" fmla="*/ 1876059 w 3610447"/>
              <a:gd name="connsiteY3" fmla="*/ 4941876 h 4941876"/>
              <a:gd name="connsiteX4" fmla="*/ 1347009 w 3610447"/>
              <a:gd name="connsiteY4" fmla="*/ 3755724 h 4941876"/>
              <a:gd name="connsiteX5" fmla="*/ 1761192 w 3610447"/>
              <a:gd name="connsiteY5" fmla="*/ 1143812 h 4941876"/>
              <a:gd name="connsiteX0" fmla="*/ 3610447 w 3610447"/>
              <a:gd name="connsiteY0" fmla="*/ 177055 h 4941876"/>
              <a:gd name="connsiteX1" fmla="*/ 3069209 w 3610447"/>
              <a:gd name="connsiteY1" fmla="*/ 1348295 h 4941876"/>
              <a:gd name="connsiteX2" fmla="*/ 1426728 w 3610447"/>
              <a:gd name="connsiteY2" fmla="*/ 0 h 4941876"/>
              <a:gd name="connsiteX3" fmla="*/ 1064375 w 3610447"/>
              <a:gd name="connsiteY3" fmla="*/ 1039257 h 4941876"/>
              <a:gd name="connsiteX0" fmla="*/ 930659 w 2779914"/>
              <a:gd name="connsiteY0" fmla="*/ 1143812 h 4941876"/>
              <a:gd name="connsiteX1" fmla="*/ 93177 w 2779914"/>
              <a:gd name="connsiteY1" fmla="*/ 3204786 h 4941876"/>
              <a:gd name="connsiteX2" fmla="*/ 1045526 w 2779914"/>
              <a:gd name="connsiteY2" fmla="*/ 4941876 h 4941876"/>
              <a:gd name="connsiteX3" fmla="*/ 516476 w 2779914"/>
              <a:gd name="connsiteY3" fmla="*/ 3755724 h 4941876"/>
              <a:gd name="connsiteX4" fmla="*/ 930659 w 2779914"/>
              <a:gd name="connsiteY4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4941876"/>
              <a:gd name="connsiteX1" fmla="*/ 1045526 w 2779914"/>
              <a:gd name="connsiteY1" fmla="*/ 4941876 h 4941876"/>
              <a:gd name="connsiteX2" fmla="*/ 516476 w 2779914"/>
              <a:gd name="connsiteY2" fmla="*/ 3755724 h 4941876"/>
              <a:gd name="connsiteX3" fmla="*/ 930659 w 2779914"/>
              <a:gd name="connsiteY3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4941876"/>
              <a:gd name="connsiteX1" fmla="*/ 1045526 w 2779914"/>
              <a:gd name="connsiteY1" fmla="*/ 4941876 h 4941876"/>
              <a:gd name="connsiteX2" fmla="*/ 930659 w 2779914"/>
              <a:gd name="connsiteY2" fmla="*/ 1143812 h 4941876"/>
              <a:gd name="connsiteX0" fmla="*/ 2779914 w 2779914"/>
              <a:gd name="connsiteY0" fmla="*/ 177055 h 4941876"/>
              <a:gd name="connsiteX1" fmla="*/ 2238676 w 2779914"/>
              <a:gd name="connsiteY1" fmla="*/ 1348295 h 4941876"/>
              <a:gd name="connsiteX2" fmla="*/ 596195 w 2779914"/>
              <a:gd name="connsiteY2" fmla="*/ 0 h 4941876"/>
              <a:gd name="connsiteX3" fmla="*/ 233842 w 2779914"/>
              <a:gd name="connsiteY3" fmla="*/ 1039257 h 4941876"/>
              <a:gd name="connsiteX0" fmla="*/ 930659 w 2779914"/>
              <a:gd name="connsiteY0" fmla="*/ 1143812 h 2218922"/>
              <a:gd name="connsiteX1" fmla="*/ 1668404 w 2779914"/>
              <a:gd name="connsiteY1" fmla="*/ 2218922 h 2218922"/>
              <a:gd name="connsiteX2" fmla="*/ 930659 w 2779914"/>
              <a:gd name="connsiteY2" fmla="*/ 114381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218922"/>
              <a:gd name="connsiteX1" fmla="*/ 1022099 w 2779914"/>
              <a:gd name="connsiteY1" fmla="*/ 123525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218922"/>
              <a:gd name="connsiteX1" fmla="*/ 1022099 w 2779914"/>
              <a:gd name="connsiteY1" fmla="*/ 1235252 h 2218922"/>
              <a:gd name="connsiteX2" fmla="*/ 1668404 w 2779914"/>
              <a:gd name="connsiteY2" fmla="*/ 2218922 h 2218922"/>
              <a:gd name="connsiteX0" fmla="*/ 2779914 w 2779914"/>
              <a:gd name="connsiteY0" fmla="*/ 177055 h 2218922"/>
              <a:gd name="connsiteX1" fmla="*/ 2238676 w 2779914"/>
              <a:gd name="connsiteY1" fmla="*/ 1348295 h 2218922"/>
              <a:gd name="connsiteX2" fmla="*/ 596195 w 2779914"/>
              <a:gd name="connsiteY2" fmla="*/ 0 h 2218922"/>
              <a:gd name="connsiteX3" fmla="*/ 233842 w 2779914"/>
              <a:gd name="connsiteY3" fmla="*/ 1039257 h 2218922"/>
              <a:gd name="connsiteX0" fmla="*/ 1668404 w 2779914"/>
              <a:gd name="connsiteY0" fmla="*/ 2218922 h 2652340"/>
              <a:gd name="connsiteX1" fmla="*/ 2724664 w 2779914"/>
              <a:gd name="connsiteY1" fmla="*/ 2652340 h 2652340"/>
              <a:gd name="connsiteX2" fmla="*/ 1668404 w 2779914"/>
              <a:gd name="connsiteY2" fmla="*/ 2218922 h 2652340"/>
              <a:gd name="connsiteX0" fmla="*/ 2779914 w 2779914"/>
              <a:gd name="connsiteY0" fmla="*/ 177055 h 2652340"/>
              <a:gd name="connsiteX1" fmla="*/ 2238676 w 2779914"/>
              <a:gd name="connsiteY1" fmla="*/ 1348295 h 2652340"/>
              <a:gd name="connsiteX2" fmla="*/ 596195 w 2779914"/>
              <a:gd name="connsiteY2" fmla="*/ 0 h 2652340"/>
              <a:gd name="connsiteX3" fmla="*/ 233842 w 2779914"/>
              <a:gd name="connsiteY3" fmla="*/ 1039257 h 2652340"/>
              <a:gd name="connsiteX0" fmla="*/ 1668404 w 2816104"/>
              <a:gd name="connsiteY0" fmla="*/ 2218922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917799"/>
              <a:gd name="connsiteX1" fmla="*/ 2816104 w 2816104"/>
              <a:gd name="connsiteY1" fmla="*/ 2743780 h 2917799"/>
              <a:gd name="connsiteX0" fmla="*/ 2779914 w 2816104"/>
              <a:gd name="connsiteY0" fmla="*/ 177055 h 2917799"/>
              <a:gd name="connsiteX1" fmla="*/ 2238676 w 2816104"/>
              <a:gd name="connsiteY1" fmla="*/ 1348295 h 2917799"/>
              <a:gd name="connsiteX2" fmla="*/ 596195 w 2816104"/>
              <a:gd name="connsiteY2" fmla="*/ 0 h 2917799"/>
              <a:gd name="connsiteX3" fmla="*/ 233842 w 2816104"/>
              <a:gd name="connsiteY3" fmla="*/ 1039257 h 2917799"/>
              <a:gd name="connsiteX0" fmla="*/ 1020328 w 2816104"/>
              <a:gd name="connsiteY0" fmla="*/ 1069269 h 2917799"/>
              <a:gd name="connsiteX1" fmla="*/ 2816104 w 2816104"/>
              <a:gd name="connsiteY1" fmla="*/ 2743780 h 2917799"/>
              <a:gd name="connsiteX0" fmla="*/ 2779914 w 2816104"/>
              <a:gd name="connsiteY0" fmla="*/ 177055 h 2917799"/>
              <a:gd name="connsiteX1" fmla="*/ 2238676 w 2816104"/>
              <a:gd name="connsiteY1" fmla="*/ 1348295 h 2917799"/>
              <a:gd name="connsiteX2" fmla="*/ 596195 w 2816104"/>
              <a:gd name="connsiteY2" fmla="*/ 0 h 2917799"/>
              <a:gd name="connsiteX3" fmla="*/ 233842 w 2816104"/>
              <a:gd name="connsiteY3" fmla="*/ 1039257 h 2917799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1020328 w 2816104"/>
              <a:gd name="connsiteY0" fmla="*/ 1069269 h 2743780"/>
              <a:gd name="connsiteX1" fmla="*/ 2816104 w 2816104"/>
              <a:gd name="connsiteY1" fmla="*/ 2743780 h 2743780"/>
              <a:gd name="connsiteX2" fmla="*/ 1020328 w 2816104"/>
              <a:gd name="connsiteY2" fmla="*/ 1069269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548381 w 2816104"/>
              <a:gd name="connsiteY0" fmla="*/ 1366855 h 2743780"/>
              <a:gd name="connsiteX1" fmla="*/ 2816104 w 2816104"/>
              <a:gd name="connsiteY1" fmla="*/ 2743780 h 2743780"/>
              <a:gd name="connsiteX2" fmla="*/ 548381 w 2816104"/>
              <a:gd name="connsiteY2" fmla="*/ 1366855 h 2743780"/>
              <a:gd name="connsiteX0" fmla="*/ 2779914 w 2816104"/>
              <a:gd name="connsiteY0" fmla="*/ 177055 h 2743780"/>
              <a:gd name="connsiteX1" fmla="*/ 2238676 w 2816104"/>
              <a:gd name="connsiteY1" fmla="*/ 1348295 h 2743780"/>
              <a:gd name="connsiteX2" fmla="*/ 596195 w 2816104"/>
              <a:gd name="connsiteY2" fmla="*/ 0 h 2743780"/>
              <a:gd name="connsiteX3" fmla="*/ 233842 w 2816104"/>
              <a:gd name="connsiteY3" fmla="*/ 1039257 h 2743780"/>
              <a:gd name="connsiteX0" fmla="*/ 548381 w 2779914"/>
              <a:gd name="connsiteY0" fmla="*/ 1366855 h 1479100"/>
              <a:gd name="connsiteX1" fmla="*/ 708676 w 2779914"/>
              <a:gd name="connsiteY1" fmla="*/ 1479100 h 1479100"/>
              <a:gd name="connsiteX2" fmla="*/ 548381 w 2779914"/>
              <a:gd name="connsiteY2" fmla="*/ 1366855 h 1479100"/>
              <a:gd name="connsiteX0" fmla="*/ 2779914 w 2779914"/>
              <a:gd name="connsiteY0" fmla="*/ 177055 h 1479100"/>
              <a:gd name="connsiteX1" fmla="*/ 2238676 w 2779914"/>
              <a:gd name="connsiteY1" fmla="*/ 1348295 h 1479100"/>
              <a:gd name="connsiteX2" fmla="*/ 596195 w 2779914"/>
              <a:gd name="connsiteY2" fmla="*/ 0 h 1479100"/>
              <a:gd name="connsiteX3" fmla="*/ 233842 w 2779914"/>
              <a:gd name="connsiteY3" fmla="*/ 1039257 h 1479100"/>
              <a:gd name="connsiteX0" fmla="*/ 403355 w 2634888"/>
              <a:gd name="connsiteY0" fmla="*/ 1366855 h 1479100"/>
              <a:gd name="connsiteX1" fmla="*/ 563650 w 2634888"/>
              <a:gd name="connsiteY1" fmla="*/ 1479100 h 1479100"/>
              <a:gd name="connsiteX2" fmla="*/ 403355 w 2634888"/>
              <a:gd name="connsiteY2" fmla="*/ 1366855 h 1479100"/>
              <a:gd name="connsiteX0" fmla="*/ 2634888 w 2634888"/>
              <a:gd name="connsiteY0" fmla="*/ 177055 h 1479100"/>
              <a:gd name="connsiteX1" fmla="*/ 2093650 w 2634888"/>
              <a:gd name="connsiteY1" fmla="*/ 1348295 h 1479100"/>
              <a:gd name="connsiteX2" fmla="*/ 451169 w 2634888"/>
              <a:gd name="connsiteY2" fmla="*/ 0 h 1479100"/>
              <a:gd name="connsiteX3" fmla="*/ 294819 w 2634888"/>
              <a:gd name="connsiteY3" fmla="*/ 1290310 h 1479100"/>
              <a:gd name="connsiteX0" fmla="*/ 342378 w 2573911"/>
              <a:gd name="connsiteY0" fmla="*/ 1335307 h 1447552"/>
              <a:gd name="connsiteX1" fmla="*/ 502673 w 2573911"/>
              <a:gd name="connsiteY1" fmla="*/ 1447552 h 1447552"/>
              <a:gd name="connsiteX2" fmla="*/ 342378 w 2573911"/>
              <a:gd name="connsiteY2" fmla="*/ 1335307 h 1447552"/>
              <a:gd name="connsiteX0" fmla="*/ 2573911 w 2573911"/>
              <a:gd name="connsiteY0" fmla="*/ 145507 h 1447552"/>
              <a:gd name="connsiteX1" fmla="*/ 2032673 w 2573911"/>
              <a:gd name="connsiteY1" fmla="*/ 1316747 h 1447552"/>
              <a:gd name="connsiteX2" fmla="*/ 801798 w 2573911"/>
              <a:gd name="connsiteY2" fmla="*/ 0 h 1447552"/>
              <a:gd name="connsiteX3" fmla="*/ 233842 w 2573911"/>
              <a:gd name="connsiteY3" fmla="*/ 1258762 h 1447552"/>
              <a:gd name="connsiteX0" fmla="*/ 342378 w 2573911"/>
              <a:gd name="connsiteY0" fmla="*/ 1641396 h 1753641"/>
              <a:gd name="connsiteX1" fmla="*/ 502673 w 2573911"/>
              <a:gd name="connsiteY1" fmla="*/ 1753641 h 1753641"/>
              <a:gd name="connsiteX2" fmla="*/ 342378 w 2573911"/>
              <a:gd name="connsiteY2" fmla="*/ 1641396 h 1753641"/>
              <a:gd name="connsiteX0" fmla="*/ 2573911 w 2573911"/>
              <a:gd name="connsiteY0" fmla="*/ 451596 h 1753641"/>
              <a:gd name="connsiteX1" fmla="*/ 2032673 w 2573911"/>
              <a:gd name="connsiteY1" fmla="*/ 1622836 h 1753641"/>
              <a:gd name="connsiteX2" fmla="*/ 801798 w 2573911"/>
              <a:gd name="connsiteY2" fmla="*/ 306089 h 1753641"/>
              <a:gd name="connsiteX3" fmla="*/ 233842 w 2573911"/>
              <a:gd name="connsiteY3" fmla="*/ 1564851 h 1753641"/>
              <a:gd name="connsiteX0" fmla="*/ 342378 w 2573911"/>
              <a:gd name="connsiteY0" fmla="*/ 1641396 h 1753641"/>
              <a:gd name="connsiteX1" fmla="*/ 502673 w 2573911"/>
              <a:gd name="connsiteY1" fmla="*/ 1753641 h 1753641"/>
              <a:gd name="connsiteX2" fmla="*/ 342378 w 2573911"/>
              <a:gd name="connsiteY2" fmla="*/ 1641396 h 1753641"/>
              <a:gd name="connsiteX0" fmla="*/ 2573911 w 2573911"/>
              <a:gd name="connsiteY0" fmla="*/ 451596 h 1753641"/>
              <a:gd name="connsiteX1" fmla="*/ 2032673 w 2573911"/>
              <a:gd name="connsiteY1" fmla="*/ 1622836 h 1753641"/>
              <a:gd name="connsiteX2" fmla="*/ 801798 w 2573911"/>
              <a:gd name="connsiteY2" fmla="*/ 306089 h 1753641"/>
              <a:gd name="connsiteX3" fmla="*/ 233842 w 2573911"/>
              <a:gd name="connsiteY3" fmla="*/ 1564851 h 1753641"/>
              <a:gd name="connsiteX0" fmla="*/ 342378 w 3571713"/>
              <a:gd name="connsiteY0" fmla="*/ 2227876 h 2353447"/>
              <a:gd name="connsiteX1" fmla="*/ 502673 w 3571713"/>
              <a:gd name="connsiteY1" fmla="*/ 2340121 h 2353447"/>
              <a:gd name="connsiteX2" fmla="*/ 342378 w 3571713"/>
              <a:gd name="connsiteY2" fmla="*/ 2227876 h 2353447"/>
              <a:gd name="connsiteX0" fmla="*/ 3571713 w 3571713"/>
              <a:gd name="connsiteY0" fmla="*/ 27783 h 2353447"/>
              <a:gd name="connsiteX1" fmla="*/ 2032673 w 3571713"/>
              <a:gd name="connsiteY1" fmla="*/ 2209316 h 2353447"/>
              <a:gd name="connsiteX2" fmla="*/ 801798 w 3571713"/>
              <a:gd name="connsiteY2" fmla="*/ 892569 h 2353447"/>
              <a:gd name="connsiteX3" fmla="*/ 233842 w 3571713"/>
              <a:gd name="connsiteY3" fmla="*/ 2151331 h 2353447"/>
              <a:gd name="connsiteX0" fmla="*/ 342378 w 3571713"/>
              <a:gd name="connsiteY0" fmla="*/ 2200093 h 2325664"/>
              <a:gd name="connsiteX1" fmla="*/ 502673 w 3571713"/>
              <a:gd name="connsiteY1" fmla="*/ 2312338 h 2325664"/>
              <a:gd name="connsiteX2" fmla="*/ 342378 w 3571713"/>
              <a:gd name="connsiteY2" fmla="*/ 2200093 h 2325664"/>
              <a:gd name="connsiteX0" fmla="*/ 3571713 w 3571713"/>
              <a:gd name="connsiteY0" fmla="*/ 0 h 2325664"/>
              <a:gd name="connsiteX1" fmla="*/ 2032673 w 3571713"/>
              <a:gd name="connsiteY1" fmla="*/ 2181533 h 2325664"/>
              <a:gd name="connsiteX2" fmla="*/ 801798 w 3571713"/>
              <a:gd name="connsiteY2" fmla="*/ 864786 h 2325664"/>
              <a:gd name="connsiteX3" fmla="*/ 233842 w 3571713"/>
              <a:gd name="connsiteY3" fmla="*/ 2123548 h 2325664"/>
              <a:gd name="connsiteX0" fmla="*/ 426974 w 3656309"/>
              <a:gd name="connsiteY0" fmla="*/ 2200093 h 2325664"/>
              <a:gd name="connsiteX1" fmla="*/ 587269 w 3656309"/>
              <a:gd name="connsiteY1" fmla="*/ 2312338 h 2325664"/>
              <a:gd name="connsiteX2" fmla="*/ 426974 w 3656309"/>
              <a:gd name="connsiteY2" fmla="*/ 2200093 h 2325664"/>
              <a:gd name="connsiteX0" fmla="*/ 3656309 w 3656309"/>
              <a:gd name="connsiteY0" fmla="*/ 0 h 2325664"/>
              <a:gd name="connsiteX1" fmla="*/ 2117269 w 3656309"/>
              <a:gd name="connsiteY1" fmla="*/ 2181533 h 2325664"/>
              <a:gd name="connsiteX2" fmla="*/ 886394 w 3656309"/>
              <a:gd name="connsiteY2" fmla="*/ 864786 h 2325664"/>
              <a:gd name="connsiteX3" fmla="*/ 233842 w 3656309"/>
              <a:gd name="connsiteY3" fmla="*/ 2157500 h 2325664"/>
              <a:gd name="connsiteX0" fmla="*/ 237875 w 3467210"/>
              <a:gd name="connsiteY0" fmla="*/ 2200093 h 2325664"/>
              <a:gd name="connsiteX1" fmla="*/ 398170 w 3467210"/>
              <a:gd name="connsiteY1" fmla="*/ 2312338 h 2325664"/>
              <a:gd name="connsiteX2" fmla="*/ 237875 w 3467210"/>
              <a:gd name="connsiteY2" fmla="*/ 2200093 h 2325664"/>
              <a:gd name="connsiteX0" fmla="*/ 3467210 w 3467210"/>
              <a:gd name="connsiteY0" fmla="*/ 0 h 2325664"/>
              <a:gd name="connsiteX1" fmla="*/ 1928170 w 3467210"/>
              <a:gd name="connsiteY1" fmla="*/ 2181533 h 2325664"/>
              <a:gd name="connsiteX2" fmla="*/ 697295 w 3467210"/>
              <a:gd name="connsiteY2" fmla="*/ 864786 h 2325664"/>
              <a:gd name="connsiteX3" fmla="*/ 44743 w 3467210"/>
              <a:gd name="connsiteY3" fmla="*/ 2157500 h 2325664"/>
              <a:gd name="connsiteX0" fmla="*/ 237875 w 3467210"/>
              <a:gd name="connsiteY0" fmla="*/ 2200093 h 2325308"/>
              <a:gd name="connsiteX1" fmla="*/ 398170 w 3467210"/>
              <a:gd name="connsiteY1" fmla="*/ 2312338 h 2325308"/>
              <a:gd name="connsiteX2" fmla="*/ 237875 w 3467210"/>
              <a:gd name="connsiteY2" fmla="*/ 2200093 h 2325308"/>
              <a:gd name="connsiteX0" fmla="*/ 3467210 w 3467210"/>
              <a:gd name="connsiteY0" fmla="*/ 0 h 2325308"/>
              <a:gd name="connsiteX1" fmla="*/ 1928170 w 3467210"/>
              <a:gd name="connsiteY1" fmla="*/ 2181533 h 2325308"/>
              <a:gd name="connsiteX2" fmla="*/ 835355 w 3467210"/>
              <a:gd name="connsiteY2" fmla="*/ 862650 h 2325308"/>
              <a:gd name="connsiteX3" fmla="*/ 44743 w 3467210"/>
              <a:gd name="connsiteY3" fmla="*/ 2157500 h 2325308"/>
              <a:gd name="connsiteX0" fmla="*/ 237875 w 3467210"/>
              <a:gd name="connsiteY0" fmla="*/ 2200093 h 2325308"/>
              <a:gd name="connsiteX1" fmla="*/ 398170 w 3467210"/>
              <a:gd name="connsiteY1" fmla="*/ 2312338 h 2325308"/>
              <a:gd name="connsiteX2" fmla="*/ 237875 w 3467210"/>
              <a:gd name="connsiteY2" fmla="*/ 2200093 h 2325308"/>
              <a:gd name="connsiteX0" fmla="*/ 3467210 w 3467210"/>
              <a:gd name="connsiteY0" fmla="*/ 0 h 2325308"/>
              <a:gd name="connsiteX1" fmla="*/ 1928170 w 3467210"/>
              <a:gd name="connsiteY1" fmla="*/ 2181533 h 2325308"/>
              <a:gd name="connsiteX2" fmla="*/ 835355 w 3467210"/>
              <a:gd name="connsiteY2" fmla="*/ 862650 h 2325308"/>
              <a:gd name="connsiteX3" fmla="*/ 44743 w 3467210"/>
              <a:gd name="connsiteY3" fmla="*/ 2157500 h 2325308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237875 w 3467210"/>
              <a:gd name="connsiteY0" fmla="*/ 2200093 h 2366576"/>
              <a:gd name="connsiteX1" fmla="*/ 398170 w 3467210"/>
              <a:gd name="connsiteY1" fmla="*/ 2312338 h 2366576"/>
              <a:gd name="connsiteX2" fmla="*/ 237875 w 3467210"/>
              <a:gd name="connsiteY2" fmla="*/ 2200093 h 2366576"/>
              <a:gd name="connsiteX0" fmla="*/ 3467210 w 3467210"/>
              <a:gd name="connsiteY0" fmla="*/ 0 h 2366576"/>
              <a:gd name="connsiteX1" fmla="*/ 2231035 w 3467210"/>
              <a:gd name="connsiteY1" fmla="*/ 2222801 h 2366576"/>
              <a:gd name="connsiteX2" fmla="*/ 835355 w 3467210"/>
              <a:gd name="connsiteY2" fmla="*/ 862650 h 2366576"/>
              <a:gd name="connsiteX3" fmla="*/ 44743 w 3467210"/>
              <a:gd name="connsiteY3" fmla="*/ 2157500 h 2366576"/>
              <a:gd name="connsiteX0" fmla="*/ 461170 w 3690505"/>
              <a:gd name="connsiteY0" fmla="*/ 2200093 h 2366576"/>
              <a:gd name="connsiteX1" fmla="*/ 621465 w 3690505"/>
              <a:gd name="connsiteY1" fmla="*/ 2312338 h 2366576"/>
              <a:gd name="connsiteX2" fmla="*/ 461170 w 3690505"/>
              <a:gd name="connsiteY2" fmla="*/ 2200093 h 2366576"/>
              <a:gd name="connsiteX0" fmla="*/ 3690505 w 3690505"/>
              <a:gd name="connsiteY0" fmla="*/ 0 h 2366576"/>
              <a:gd name="connsiteX1" fmla="*/ 2454330 w 3690505"/>
              <a:gd name="connsiteY1" fmla="*/ 2222801 h 2366576"/>
              <a:gd name="connsiteX2" fmla="*/ 1058650 w 3690505"/>
              <a:gd name="connsiteY2" fmla="*/ 862650 h 2366576"/>
              <a:gd name="connsiteX3" fmla="*/ 44743 w 3690505"/>
              <a:gd name="connsiteY3" fmla="*/ 2073964 h 2366576"/>
              <a:gd name="connsiteX0" fmla="*/ 416427 w 3645762"/>
              <a:gd name="connsiteY0" fmla="*/ 2200093 h 2366576"/>
              <a:gd name="connsiteX1" fmla="*/ 576722 w 3645762"/>
              <a:gd name="connsiteY1" fmla="*/ 2312338 h 2366576"/>
              <a:gd name="connsiteX2" fmla="*/ 416427 w 3645762"/>
              <a:gd name="connsiteY2" fmla="*/ 2200093 h 2366576"/>
              <a:gd name="connsiteX0" fmla="*/ 3645762 w 3645762"/>
              <a:gd name="connsiteY0" fmla="*/ 0 h 2366576"/>
              <a:gd name="connsiteX1" fmla="*/ 2409587 w 3645762"/>
              <a:gd name="connsiteY1" fmla="*/ 2222801 h 2366576"/>
              <a:gd name="connsiteX2" fmla="*/ 1013907 w 3645762"/>
              <a:gd name="connsiteY2" fmla="*/ 862650 h 2366576"/>
              <a:gd name="connsiteX3" fmla="*/ 0 w 3645762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409587 w 4483117"/>
              <a:gd name="connsiteY1" fmla="*/ 2222801 h 2366576"/>
              <a:gd name="connsiteX2" fmla="*/ 1013907 w 4483117"/>
              <a:gd name="connsiteY2" fmla="*/ 862650 h 2366576"/>
              <a:gd name="connsiteX3" fmla="*/ 0 w 4483117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409587 w 4483117"/>
              <a:gd name="connsiteY1" fmla="*/ 2222801 h 2366576"/>
              <a:gd name="connsiteX2" fmla="*/ 1237202 w 4483117"/>
              <a:gd name="connsiteY2" fmla="*/ 862650 h 2366576"/>
              <a:gd name="connsiteX3" fmla="*/ 0 w 4483117"/>
              <a:gd name="connsiteY3" fmla="*/ 2073964 h 2366576"/>
              <a:gd name="connsiteX0" fmla="*/ 416427 w 4483117"/>
              <a:gd name="connsiteY0" fmla="*/ 2200093 h 2366576"/>
              <a:gd name="connsiteX1" fmla="*/ 576722 w 4483117"/>
              <a:gd name="connsiteY1" fmla="*/ 2312338 h 2366576"/>
              <a:gd name="connsiteX2" fmla="*/ 416427 w 4483117"/>
              <a:gd name="connsiteY2" fmla="*/ 2200093 h 2366576"/>
              <a:gd name="connsiteX0" fmla="*/ 4483117 w 4483117"/>
              <a:gd name="connsiteY0" fmla="*/ 0 h 2366576"/>
              <a:gd name="connsiteX1" fmla="*/ 2577058 w 4483117"/>
              <a:gd name="connsiteY1" fmla="*/ 2222801 h 2366576"/>
              <a:gd name="connsiteX2" fmla="*/ 1237202 w 4483117"/>
              <a:gd name="connsiteY2" fmla="*/ 862650 h 2366576"/>
              <a:gd name="connsiteX3" fmla="*/ 0 w 4483117"/>
              <a:gd name="connsiteY3" fmla="*/ 2073964 h 2366576"/>
              <a:gd name="connsiteX0" fmla="*/ 416427 w 4818060"/>
              <a:gd name="connsiteY0" fmla="*/ 2083142 h 2230133"/>
              <a:gd name="connsiteX1" fmla="*/ 576722 w 4818060"/>
              <a:gd name="connsiteY1" fmla="*/ 2195387 h 2230133"/>
              <a:gd name="connsiteX2" fmla="*/ 416427 w 4818060"/>
              <a:gd name="connsiteY2" fmla="*/ 2083142 h 2230133"/>
              <a:gd name="connsiteX0" fmla="*/ 4818060 w 4818060"/>
              <a:gd name="connsiteY0" fmla="*/ 0 h 2230133"/>
              <a:gd name="connsiteX1" fmla="*/ 2577058 w 4818060"/>
              <a:gd name="connsiteY1" fmla="*/ 2105850 h 2230133"/>
              <a:gd name="connsiteX2" fmla="*/ 1237202 w 4818060"/>
              <a:gd name="connsiteY2" fmla="*/ 745699 h 2230133"/>
              <a:gd name="connsiteX3" fmla="*/ 0 w 4818060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583898 w 4985531"/>
              <a:gd name="connsiteY0" fmla="*/ 2083142 h 2230133"/>
              <a:gd name="connsiteX1" fmla="*/ 744193 w 4985531"/>
              <a:gd name="connsiteY1" fmla="*/ 2195387 h 2230133"/>
              <a:gd name="connsiteX2" fmla="*/ 583898 w 4985531"/>
              <a:gd name="connsiteY2" fmla="*/ 2083142 h 2230133"/>
              <a:gd name="connsiteX0" fmla="*/ 4985531 w 4985531"/>
              <a:gd name="connsiteY0" fmla="*/ 0 h 2230133"/>
              <a:gd name="connsiteX1" fmla="*/ 2744529 w 4985531"/>
              <a:gd name="connsiteY1" fmla="*/ 2105850 h 2230133"/>
              <a:gd name="connsiteX2" fmla="*/ 1404673 w 4985531"/>
              <a:gd name="connsiteY2" fmla="*/ 745699 h 2230133"/>
              <a:gd name="connsiteX3" fmla="*/ 0 w 4985531"/>
              <a:gd name="connsiteY3" fmla="*/ 1957013 h 2230133"/>
              <a:gd name="connsiteX0" fmla="*/ 863016 w 5264649"/>
              <a:gd name="connsiteY0" fmla="*/ 2083142 h 2541770"/>
              <a:gd name="connsiteX1" fmla="*/ 1023311 w 5264649"/>
              <a:gd name="connsiteY1" fmla="*/ 2195387 h 2541770"/>
              <a:gd name="connsiteX2" fmla="*/ 863016 w 5264649"/>
              <a:gd name="connsiteY2" fmla="*/ 2083142 h 2541770"/>
              <a:gd name="connsiteX0" fmla="*/ 5264649 w 5264649"/>
              <a:gd name="connsiteY0" fmla="*/ 0 h 2541770"/>
              <a:gd name="connsiteX1" fmla="*/ 3023647 w 5264649"/>
              <a:gd name="connsiteY1" fmla="*/ 2105850 h 2541770"/>
              <a:gd name="connsiteX2" fmla="*/ 1683791 w 5264649"/>
              <a:gd name="connsiteY2" fmla="*/ 745699 h 2541770"/>
              <a:gd name="connsiteX3" fmla="*/ 0 w 5264649"/>
              <a:gd name="connsiteY3" fmla="*/ 2541770 h 2541770"/>
              <a:gd name="connsiteX0" fmla="*/ 863016 w 5264649"/>
              <a:gd name="connsiteY0" fmla="*/ 2432724 h 2891352"/>
              <a:gd name="connsiteX1" fmla="*/ 1023311 w 5264649"/>
              <a:gd name="connsiteY1" fmla="*/ 2544969 h 2891352"/>
              <a:gd name="connsiteX2" fmla="*/ 863016 w 5264649"/>
              <a:gd name="connsiteY2" fmla="*/ 2432724 h 2891352"/>
              <a:gd name="connsiteX0" fmla="*/ 5264649 w 5264649"/>
              <a:gd name="connsiteY0" fmla="*/ 349582 h 2891352"/>
              <a:gd name="connsiteX1" fmla="*/ 4141198 w 5264649"/>
              <a:gd name="connsiteY1" fmla="*/ 350975 h 2891352"/>
              <a:gd name="connsiteX2" fmla="*/ 3023647 w 5264649"/>
              <a:gd name="connsiteY2" fmla="*/ 2455432 h 2891352"/>
              <a:gd name="connsiteX3" fmla="*/ 1683791 w 5264649"/>
              <a:gd name="connsiteY3" fmla="*/ 1095281 h 2891352"/>
              <a:gd name="connsiteX4" fmla="*/ 0 w 5264649"/>
              <a:gd name="connsiteY4" fmla="*/ 2891352 h 2891352"/>
              <a:gd name="connsiteX0" fmla="*/ 863016 w 5612385"/>
              <a:gd name="connsiteY0" fmla="*/ 2155429 h 2614057"/>
              <a:gd name="connsiteX1" fmla="*/ 1023311 w 5612385"/>
              <a:gd name="connsiteY1" fmla="*/ 2267674 h 2614057"/>
              <a:gd name="connsiteX2" fmla="*/ 863016 w 5612385"/>
              <a:gd name="connsiteY2" fmla="*/ 2155429 h 2614057"/>
              <a:gd name="connsiteX0" fmla="*/ 5264649 w 5612385"/>
              <a:gd name="connsiteY0" fmla="*/ 72287 h 2614057"/>
              <a:gd name="connsiteX1" fmla="*/ 5425143 w 5612385"/>
              <a:gd name="connsiteY1" fmla="*/ 1736059 h 2614057"/>
              <a:gd name="connsiteX2" fmla="*/ 4141198 w 5612385"/>
              <a:gd name="connsiteY2" fmla="*/ 73680 h 2614057"/>
              <a:gd name="connsiteX3" fmla="*/ 3023647 w 5612385"/>
              <a:gd name="connsiteY3" fmla="*/ 2178137 h 2614057"/>
              <a:gd name="connsiteX4" fmla="*/ 1683791 w 5612385"/>
              <a:gd name="connsiteY4" fmla="*/ 817986 h 2614057"/>
              <a:gd name="connsiteX5" fmla="*/ 0 w 5612385"/>
              <a:gd name="connsiteY5" fmla="*/ 2614057 h 2614057"/>
              <a:gd name="connsiteX0" fmla="*/ 863016 w 5990357"/>
              <a:gd name="connsiteY0" fmla="*/ 2233508 h 2692136"/>
              <a:gd name="connsiteX1" fmla="*/ 1023311 w 5990357"/>
              <a:gd name="connsiteY1" fmla="*/ 2345753 h 2692136"/>
              <a:gd name="connsiteX2" fmla="*/ 863016 w 5990357"/>
              <a:gd name="connsiteY2" fmla="*/ 2233508 h 2692136"/>
              <a:gd name="connsiteX0" fmla="*/ 5990357 w 5990357"/>
              <a:gd name="connsiteY0" fmla="*/ 0 h 2692136"/>
              <a:gd name="connsiteX1" fmla="*/ 5425143 w 5990357"/>
              <a:gd name="connsiteY1" fmla="*/ 1814138 h 2692136"/>
              <a:gd name="connsiteX2" fmla="*/ 4141198 w 5990357"/>
              <a:gd name="connsiteY2" fmla="*/ 151759 h 2692136"/>
              <a:gd name="connsiteX3" fmla="*/ 3023647 w 5990357"/>
              <a:gd name="connsiteY3" fmla="*/ 2256216 h 2692136"/>
              <a:gd name="connsiteX4" fmla="*/ 1683791 w 5990357"/>
              <a:gd name="connsiteY4" fmla="*/ 896065 h 2692136"/>
              <a:gd name="connsiteX5" fmla="*/ 0 w 5990357"/>
              <a:gd name="connsiteY5" fmla="*/ 2692136 h 2692136"/>
              <a:gd name="connsiteX0" fmla="*/ 639721 w 5767062"/>
              <a:gd name="connsiteY0" fmla="*/ 2233508 h 2380267"/>
              <a:gd name="connsiteX1" fmla="*/ 800016 w 5767062"/>
              <a:gd name="connsiteY1" fmla="*/ 2345753 h 2380267"/>
              <a:gd name="connsiteX2" fmla="*/ 639721 w 5767062"/>
              <a:gd name="connsiteY2" fmla="*/ 2233508 h 2380267"/>
              <a:gd name="connsiteX0" fmla="*/ 5767062 w 5767062"/>
              <a:gd name="connsiteY0" fmla="*/ 0 h 2380267"/>
              <a:gd name="connsiteX1" fmla="*/ 5201848 w 5767062"/>
              <a:gd name="connsiteY1" fmla="*/ 1814138 h 2380267"/>
              <a:gd name="connsiteX2" fmla="*/ 3917903 w 5767062"/>
              <a:gd name="connsiteY2" fmla="*/ 151759 h 2380267"/>
              <a:gd name="connsiteX3" fmla="*/ 2800352 w 5767062"/>
              <a:gd name="connsiteY3" fmla="*/ 2256216 h 2380267"/>
              <a:gd name="connsiteX4" fmla="*/ 1460496 w 5767062"/>
              <a:gd name="connsiteY4" fmla="*/ 896065 h 2380267"/>
              <a:gd name="connsiteX5" fmla="*/ 0 w 5767062"/>
              <a:gd name="connsiteY5" fmla="*/ 2274453 h 2380267"/>
              <a:gd name="connsiteX0" fmla="*/ 639721 w 5767062"/>
              <a:gd name="connsiteY0" fmla="*/ 2233508 h 2345753"/>
              <a:gd name="connsiteX1" fmla="*/ 800016 w 5767062"/>
              <a:gd name="connsiteY1" fmla="*/ 2345753 h 2345753"/>
              <a:gd name="connsiteX2" fmla="*/ 639721 w 5767062"/>
              <a:gd name="connsiteY2" fmla="*/ 2233508 h 2345753"/>
              <a:gd name="connsiteX0" fmla="*/ 5767062 w 5767062"/>
              <a:gd name="connsiteY0" fmla="*/ 0 h 2345753"/>
              <a:gd name="connsiteX1" fmla="*/ 5201848 w 5767062"/>
              <a:gd name="connsiteY1" fmla="*/ 1814138 h 2345753"/>
              <a:gd name="connsiteX2" fmla="*/ 3917903 w 5767062"/>
              <a:gd name="connsiteY2" fmla="*/ 151759 h 2345753"/>
              <a:gd name="connsiteX3" fmla="*/ 2564378 w 5767062"/>
              <a:gd name="connsiteY3" fmla="*/ 2173129 h 2345753"/>
              <a:gd name="connsiteX4" fmla="*/ 1460496 w 5767062"/>
              <a:gd name="connsiteY4" fmla="*/ 896065 h 2345753"/>
              <a:gd name="connsiteX5" fmla="*/ 0 w 5767062"/>
              <a:gd name="connsiteY5" fmla="*/ 2274453 h 2345753"/>
              <a:gd name="connsiteX0" fmla="*/ 639721 w 8987425"/>
              <a:gd name="connsiteY0" fmla="*/ 2141581 h 2253826"/>
              <a:gd name="connsiteX1" fmla="*/ 800016 w 8987425"/>
              <a:gd name="connsiteY1" fmla="*/ 2253826 h 2253826"/>
              <a:gd name="connsiteX2" fmla="*/ 639721 w 8987425"/>
              <a:gd name="connsiteY2" fmla="*/ 2141581 h 2253826"/>
              <a:gd name="connsiteX0" fmla="*/ 8987425 w 8987425"/>
              <a:gd name="connsiteY0" fmla="*/ 805417 h 2253826"/>
              <a:gd name="connsiteX1" fmla="*/ 5201848 w 8987425"/>
              <a:gd name="connsiteY1" fmla="*/ 1722211 h 2253826"/>
              <a:gd name="connsiteX2" fmla="*/ 3917903 w 8987425"/>
              <a:gd name="connsiteY2" fmla="*/ 59832 h 2253826"/>
              <a:gd name="connsiteX3" fmla="*/ 2564378 w 8987425"/>
              <a:gd name="connsiteY3" fmla="*/ 2081202 h 2253826"/>
              <a:gd name="connsiteX4" fmla="*/ 1460496 w 8987425"/>
              <a:gd name="connsiteY4" fmla="*/ 804138 h 2253826"/>
              <a:gd name="connsiteX5" fmla="*/ 0 w 8987425"/>
              <a:gd name="connsiteY5" fmla="*/ 2182526 h 2253826"/>
              <a:gd name="connsiteX0" fmla="*/ 639721 w 8987425"/>
              <a:gd name="connsiteY0" fmla="*/ 1668554 h 1780799"/>
              <a:gd name="connsiteX1" fmla="*/ 800016 w 8987425"/>
              <a:gd name="connsiteY1" fmla="*/ 1780799 h 1780799"/>
              <a:gd name="connsiteX2" fmla="*/ 639721 w 8987425"/>
              <a:gd name="connsiteY2" fmla="*/ 1668554 h 1780799"/>
              <a:gd name="connsiteX0" fmla="*/ 8987425 w 8987425"/>
              <a:gd name="connsiteY0" fmla="*/ 332390 h 1780799"/>
              <a:gd name="connsiteX1" fmla="*/ 5201848 w 8987425"/>
              <a:gd name="connsiteY1" fmla="*/ 1249184 h 1780799"/>
              <a:gd name="connsiteX2" fmla="*/ 3820736 w 8987425"/>
              <a:gd name="connsiteY2" fmla="*/ 268121 h 1780799"/>
              <a:gd name="connsiteX3" fmla="*/ 2564378 w 8987425"/>
              <a:gd name="connsiteY3" fmla="*/ 1608175 h 1780799"/>
              <a:gd name="connsiteX4" fmla="*/ 1460496 w 8987425"/>
              <a:gd name="connsiteY4" fmla="*/ 331111 h 1780799"/>
              <a:gd name="connsiteX5" fmla="*/ 0 w 8987425"/>
              <a:gd name="connsiteY5" fmla="*/ 1709499 h 1780799"/>
              <a:gd name="connsiteX0" fmla="*/ 639721 w 8987425"/>
              <a:gd name="connsiteY0" fmla="*/ 1668556 h 1780801"/>
              <a:gd name="connsiteX1" fmla="*/ 800016 w 8987425"/>
              <a:gd name="connsiteY1" fmla="*/ 1780801 h 1780801"/>
              <a:gd name="connsiteX2" fmla="*/ 639721 w 8987425"/>
              <a:gd name="connsiteY2" fmla="*/ 1668556 h 1780801"/>
              <a:gd name="connsiteX0" fmla="*/ 8987425 w 8987425"/>
              <a:gd name="connsiteY0" fmla="*/ 332392 h 1780801"/>
              <a:gd name="connsiteX1" fmla="*/ 5201848 w 8987425"/>
              <a:gd name="connsiteY1" fmla="*/ 1614771 h 1780801"/>
              <a:gd name="connsiteX2" fmla="*/ 3820736 w 8987425"/>
              <a:gd name="connsiteY2" fmla="*/ 268123 h 1780801"/>
              <a:gd name="connsiteX3" fmla="*/ 2564378 w 8987425"/>
              <a:gd name="connsiteY3" fmla="*/ 1608177 h 1780801"/>
              <a:gd name="connsiteX4" fmla="*/ 1460496 w 8987425"/>
              <a:gd name="connsiteY4" fmla="*/ 331113 h 1780801"/>
              <a:gd name="connsiteX5" fmla="*/ 0 w 8987425"/>
              <a:gd name="connsiteY5" fmla="*/ 1709501 h 1780801"/>
              <a:gd name="connsiteX0" fmla="*/ 639721 w 8987425"/>
              <a:gd name="connsiteY0" fmla="*/ 1668554 h 1780799"/>
              <a:gd name="connsiteX1" fmla="*/ 800016 w 8987425"/>
              <a:gd name="connsiteY1" fmla="*/ 1780799 h 1780799"/>
              <a:gd name="connsiteX2" fmla="*/ 639721 w 8987425"/>
              <a:gd name="connsiteY2" fmla="*/ 1668554 h 1780799"/>
              <a:gd name="connsiteX0" fmla="*/ 8987425 w 8987425"/>
              <a:gd name="connsiteY0" fmla="*/ 332390 h 1780799"/>
              <a:gd name="connsiteX1" fmla="*/ 6280655 w 8987425"/>
              <a:gd name="connsiteY1" fmla="*/ 340178 h 1780799"/>
              <a:gd name="connsiteX2" fmla="*/ 5201848 w 8987425"/>
              <a:gd name="connsiteY2" fmla="*/ 1614769 h 1780799"/>
              <a:gd name="connsiteX3" fmla="*/ 3820736 w 8987425"/>
              <a:gd name="connsiteY3" fmla="*/ 268121 h 1780799"/>
              <a:gd name="connsiteX4" fmla="*/ 2564378 w 8987425"/>
              <a:gd name="connsiteY4" fmla="*/ 1608175 h 1780799"/>
              <a:gd name="connsiteX5" fmla="*/ 1460496 w 8987425"/>
              <a:gd name="connsiteY5" fmla="*/ 331111 h 1780799"/>
              <a:gd name="connsiteX6" fmla="*/ 0 w 8987425"/>
              <a:gd name="connsiteY6" fmla="*/ 1709499 h 1780799"/>
              <a:gd name="connsiteX0" fmla="*/ 639721 w 8987425"/>
              <a:gd name="connsiteY0" fmla="*/ 1668556 h 1780801"/>
              <a:gd name="connsiteX1" fmla="*/ 800016 w 8987425"/>
              <a:gd name="connsiteY1" fmla="*/ 1780801 h 1780801"/>
              <a:gd name="connsiteX2" fmla="*/ 639721 w 8987425"/>
              <a:gd name="connsiteY2" fmla="*/ 1668556 h 1780801"/>
              <a:gd name="connsiteX0" fmla="*/ 8987425 w 8987425"/>
              <a:gd name="connsiteY0" fmla="*/ 332392 h 1780801"/>
              <a:gd name="connsiteX1" fmla="*/ 7627099 w 8987425"/>
              <a:gd name="connsiteY1" fmla="*/ 1586491 h 1780801"/>
              <a:gd name="connsiteX2" fmla="*/ 6280655 w 8987425"/>
              <a:gd name="connsiteY2" fmla="*/ 340180 h 1780801"/>
              <a:gd name="connsiteX3" fmla="*/ 5201848 w 8987425"/>
              <a:gd name="connsiteY3" fmla="*/ 1614771 h 1780801"/>
              <a:gd name="connsiteX4" fmla="*/ 3820736 w 8987425"/>
              <a:gd name="connsiteY4" fmla="*/ 268123 h 1780801"/>
              <a:gd name="connsiteX5" fmla="*/ 2564378 w 8987425"/>
              <a:gd name="connsiteY5" fmla="*/ 1608177 h 1780801"/>
              <a:gd name="connsiteX6" fmla="*/ 1460496 w 8987425"/>
              <a:gd name="connsiteY6" fmla="*/ 331113 h 1780801"/>
              <a:gd name="connsiteX7" fmla="*/ 0 w 8987425"/>
              <a:gd name="connsiteY7" fmla="*/ 1709501 h 1780801"/>
              <a:gd name="connsiteX0" fmla="*/ 639721 w 8987425"/>
              <a:gd name="connsiteY0" fmla="*/ 1485762 h 1598007"/>
              <a:gd name="connsiteX1" fmla="*/ 800016 w 8987425"/>
              <a:gd name="connsiteY1" fmla="*/ 1598007 h 1598007"/>
              <a:gd name="connsiteX2" fmla="*/ 639721 w 8987425"/>
              <a:gd name="connsiteY2" fmla="*/ 1485762 h 1598007"/>
              <a:gd name="connsiteX0" fmla="*/ 8987425 w 8987425"/>
              <a:gd name="connsiteY0" fmla="*/ 149598 h 1598007"/>
              <a:gd name="connsiteX1" fmla="*/ 7627099 w 8987425"/>
              <a:gd name="connsiteY1" fmla="*/ 1403697 h 1598007"/>
              <a:gd name="connsiteX2" fmla="*/ 6280655 w 8987425"/>
              <a:gd name="connsiteY2" fmla="*/ 157386 h 1598007"/>
              <a:gd name="connsiteX3" fmla="*/ 5201848 w 8987425"/>
              <a:gd name="connsiteY3" fmla="*/ 1431977 h 1598007"/>
              <a:gd name="connsiteX4" fmla="*/ 3820736 w 8987425"/>
              <a:gd name="connsiteY4" fmla="*/ 85329 h 1598007"/>
              <a:gd name="connsiteX5" fmla="*/ 2564378 w 8987425"/>
              <a:gd name="connsiteY5" fmla="*/ 1425383 h 1598007"/>
              <a:gd name="connsiteX6" fmla="*/ 1460496 w 8987425"/>
              <a:gd name="connsiteY6" fmla="*/ 148319 h 1598007"/>
              <a:gd name="connsiteX7" fmla="*/ 0 w 8987425"/>
              <a:gd name="connsiteY7" fmla="*/ 1526707 h 1598007"/>
              <a:gd name="connsiteX0" fmla="*/ 639721 w 8987425"/>
              <a:gd name="connsiteY0" fmla="*/ 1602084 h 1714329"/>
              <a:gd name="connsiteX1" fmla="*/ 800016 w 8987425"/>
              <a:gd name="connsiteY1" fmla="*/ 1714329 h 1714329"/>
              <a:gd name="connsiteX2" fmla="*/ 639721 w 8987425"/>
              <a:gd name="connsiteY2" fmla="*/ 1602084 h 1714329"/>
              <a:gd name="connsiteX0" fmla="*/ 8987425 w 8987425"/>
              <a:gd name="connsiteY0" fmla="*/ 265920 h 1714329"/>
              <a:gd name="connsiteX1" fmla="*/ 7627099 w 8987425"/>
              <a:gd name="connsiteY1" fmla="*/ 1520019 h 1714329"/>
              <a:gd name="connsiteX2" fmla="*/ 6280655 w 8987425"/>
              <a:gd name="connsiteY2" fmla="*/ 273708 h 1714329"/>
              <a:gd name="connsiteX3" fmla="*/ 5201848 w 8987425"/>
              <a:gd name="connsiteY3" fmla="*/ 1548299 h 1714329"/>
              <a:gd name="connsiteX4" fmla="*/ 3820736 w 8987425"/>
              <a:gd name="connsiteY4" fmla="*/ 201651 h 1714329"/>
              <a:gd name="connsiteX5" fmla="*/ 2564378 w 8987425"/>
              <a:gd name="connsiteY5" fmla="*/ 1541705 h 1714329"/>
              <a:gd name="connsiteX6" fmla="*/ 1238403 w 8987425"/>
              <a:gd name="connsiteY6" fmla="*/ 148318 h 1714329"/>
              <a:gd name="connsiteX7" fmla="*/ 0 w 8987425"/>
              <a:gd name="connsiteY7" fmla="*/ 1643029 h 1714329"/>
              <a:gd name="connsiteX0" fmla="*/ 639721 w 8987425"/>
              <a:gd name="connsiteY0" fmla="*/ 1602086 h 1714331"/>
              <a:gd name="connsiteX1" fmla="*/ 800016 w 8987425"/>
              <a:gd name="connsiteY1" fmla="*/ 1714331 h 1714331"/>
              <a:gd name="connsiteX2" fmla="*/ 639721 w 8987425"/>
              <a:gd name="connsiteY2" fmla="*/ 1602086 h 1714331"/>
              <a:gd name="connsiteX0" fmla="*/ 8987425 w 8987425"/>
              <a:gd name="connsiteY0" fmla="*/ 265922 h 1714331"/>
              <a:gd name="connsiteX1" fmla="*/ 7627099 w 8987425"/>
              <a:gd name="connsiteY1" fmla="*/ 1520021 h 1714331"/>
              <a:gd name="connsiteX2" fmla="*/ 6280655 w 8987425"/>
              <a:gd name="connsiteY2" fmla="*/ 273710 h 1714331"/>
              <a:gd name="connsiteX3" fmla="*/ 5201848 w 8987425"/>
              <a:gd name="connsiteY3" fmla="*/ 1548301 h 1714331"/>
              <a:gd name="connsiteX4" fmla="*/ 3820736 w 8987425"/>
              <a:gd name="connsiteY4" fmla="*/ 201653 h 1714331"/>
              <a:gd name="connsiteX5" fmla="*/ 2564378 w 8987425"/>
              <a:gd name="connsiteY5" fmla="*/ 1541707 h 1714331"/>
              <a:gd name="connsiteX6" fmla="*/ 1238403 w 8987425"/>
              <a:gd name="connsiteY6" fmla="*/ 148320 h 1714331"/>
              <a:gd name="connsiteX7" fmla="*/ 0 w 8987425"/>
              <a:gd name="connsiteY7" fmla="*/ 1643031 h 1714331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820736 w 8987425"/>
              <a:gd name="connsiteY4" fmla="*/ 101946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280655 w 8987425"/>
              <a:gd name="connsiteY2" fmla="*/ 17400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627099 w 8987425"/>
              <a:gd name="connsiteY1" fmla="*/ 1420314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433344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807551 w 8987425"/>
              <a:gd name="connsiteY1" fmla="*/ 1453549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564378 w 8987425"/>
              <a:gd name="connsiteY5" fmla="*/ 1442000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8987425"/>
              <a:gd name="connsiteY0" fmla="*/ 1502379 h 1614624"/>
              <a:gd name="connsiteX1" fmla="*/ 800016 w 8987425"/>
              <a:gd name="connsiteY1" fmla="*/ 1614624 h 1614624"/>
              <a:gd name="connsiteX2" fmla="*/ 639721 w 8987425"/>
              <a:gd name="connsiteY2" fmla="*/ 1502379 h 1614624"/>
              <a:gd name="connsiteX0" fmla="*/ 8987425 w 8987425"/>
              <a:gd name="connsiteY0" fmla="*/ 166215 h 1614624"/>
              <a:gd name="connsiteX1" fmla="*/ 7960240 w 8987425"/>
              <a:gd name="connsiteY1" fmla="*/ 1486784 h 1614624"/>
              <a:gd name="connsiteX2" fmla="*/ 6558272 w 8987425"/>
              <a:gd name="connsiteY2" fmla="*/ 107533 h 1614624"/>
              <a:gd name="connsiteX3" fmla="*/ 5201848 w 8987425"/>
              <a:gd name="connsiteY3" fmla="*/ 1448594 h 1614624"/>
              <a:gd name="connsiteX4" fmla="*/ 3904022 w 8987425"/>
              <a:gd name="connsiteY4" fmla="*/ 85329 h 1614624"/>
              <a:gd name="connsiteX5" fmla="*/ 2494974 w 8987425"/>
              <a:gd name="connsiteY5" fmla="*/ 1442001 h 1614624"/>
              <a:gd name="connsiteX6" fmla="*/ 1238403 w 8987425"/>
              <a:gd name="connsiteY6" fmla="*/ 48613 h 1614624"/>
              <a:gd name="connsiteX7" fmla="*/ 0 w 8987425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58272 w 9001306"/>
              <a:gd name="connsiteY2" fmla="*/ 107533 h 1614624"/>
              <a:gd name="connsiteX3" fmla="*/ 5201848 w 9001306"/>
              <a:gd name="connsiteY3" fmla="*/ 1448594 h 1614624"/>
              <a:gd name="connsiteX4" fmla="*/ 3904022 w 9001306"/>
              <a:gd name="connsiteY4" fmla="*/ 85329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86034 w 9001306"/>
              <a:gd name="connsiteY2" fmla="*/ 38907 h 1614624"/>
              <a:gd name="connsiteX3" fmla="*/ 5201848 w 9001306"/>
              <a:gd name="connsiteY3" fmla="*/ 1448594 h 1614624"/>
              <a:gd name="connsiteX4" fmla="*/ 3904022 w 9001306"/>
              <a:gd name="connsiteY4" fmla="*/ 85329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86034 w 9001306"/>
              <a:gd name="connsiteY2" fmla="*/ 38907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502379 h 1614624"/>
              <a:gd name="connsiteX1" fmla="*/ 800016 w 9001306"/>
              <a:gd name="connsiteY1" fmla="*/ 1614624 h 1614624"/>
              <a:gd name="connsiteX2" fmla="*/ 639721 w 9001306"/>
              <a:gd name="connsiteY2" fmla="*/ 1502379 h 1614624"/>
              <a:gd name="connsiteX0" fmla="*/ 9001306 w 9001306"/>
              <a:gd name="connsiteY0" fmla="*/ 149597 h 1614624"/>
              <a:gd name="connsiteX1" fmla="*/ 7960240 w 9001306"/>
              <a:gd name="connsiteY1" fmla="*/ 1486784 h 1614624"/>
              <a:gd name="connsiteX2" fmla="*/ 6579166 w 9001306"/>
              <a:gd name="connsiteY2" fmla="*/ 19503 h 1614624"/>
              <a:gd name="connsiteX3" fmla="*/ 5201848 w 9001306"/>
              <a:gd name="connsiteY3" fmla="*/ 1448594 h 1614624"/>
              <a:gd name="connsiteX4" fmla="*/ 3897152 w 9001306"/>
              <a:gd name="connsiteY4" fmla="*/ 17410 h 1614624"/>
              <a:gd name="connsiteX5" fmla="*/ 2494974 w 9001306"/>
              <a:gd name="connsiteY5" fmla="*/ 1442001 h 1614624"/>
              <a:gd name="connsiteX6" fmla="*/ 1238403 w 9001306"/>
              <a:gd name="connsiteY6" fmla="*/ 48613 h 1614624"/>
              <a:gd name="connsiteX7" fmla="*/ 0 w 9001306"/>
              <a:gd name="connsiteY7" fmla="*/ 1543324 h 1614624"/>
              <a:gd name="connsiteX0" fmla="*/ 639721 w 9001306"/>
              <a:gd name="connsiteY0" fmla="*/ 1498943 h 1611188"/>
              <a:gd name="connsiteX1" fmla="*/ 800016 w 9001306"/>
              <a:gd name="connsiteY1" fmla="*/ 1611188 h 1611188"/>
              <a:gd name="connsiteX2" fmla="*/ 639721 w 9001306"/>
              <a:gd name="connsiteY2" fmla="*/ 1498943 h 1611188"/>
              <a:gd name="connsiteX0" fmla="*/ 9001306 w 9001306"/>
              <a:gd name="connsiteY0" fmla="*/ 146161 h 1611188"/>
              <a:gd name="connsiteX1" fmla="*/ 7960240 w 9001306"/>
              <a:gd name="connsiteY1" fmla="*/ 1483348 h 1611188"/>
              <a:gd name="connsiteX2" fmla="*/ 6579166 w 9001306"/>
              <a:gd name="connsiteY2" fmla="*/ 16067 h 1611188"/>
              <a:gd name="connsiteX3" fmla="*/ 5201848 w 9001306"/>
              <a:gd name="connsiteY3" fmla="*/ 1445158 h 1611188"/>
              <a:gd name="connsiteX4" fmla="*/ 3897152 w 9001306"/>
              <a:gd name="connsiteY4" fmla="*/ 13974 h 1611188"/>
              <a:gd name="connsiteX5" fmla="*/ 2494974 w 9001306"/>
              <a:gd name="connsiteY5" fmla="*/ 1438565 h 1611188"/>
              <a:gd name="connsiteX6" fmla="*/ 1165135 w 9001306"/>
              <a:gd name="connsiteY6" fmla="*/ 48613 h 1611188"/>
              <a:gd name="connsiteX7" fmla="*/ 0 w 9001306"/>
              <a:gd name="connsiteY7" fmla="*/ 1539888 h 1611188"/>
              <a:gd name="connsiteX0" fmla="*/ 639721 w 9001306"/>
              <a:gd name="connsiteY0" fmla="*/ 1542605 h 1654850"/>
              <a:gd name="connsiteX1" fmla="*/ 800016 w 9001306"/>
              <a:gd name="connsiteY1" fmla="*/ 1654850 h 1654850"/>
              <a:gd name="connsiteX2" fmla="*/ 639721 w 9001306"/>
              <a:gd name="connsiteY2" fmla="*/ 1542605 h 1654850"/>
              <a:gd name="connsiteX0" fmla="*/ 9001306 w 9001306"/>
              <a:gd name="connsiteY0" fmla="*/ 189823 h 1654850"/>
              <a:gd name="connsiteX1" fmla="*/ 7960240 w 9001306"/>
              <a:gd name="connsiteY1" fmla="*/ 1527010 h 1654850"/>
              <a:gd name="connsiteX2" fmla="*/ 6579166 w 9001306"/>
              <a:gd name="connsiteY2" fmla="*/ 59729 h 1654850"/>
              <a:gd name="connsiteX3" fmla="*/ 5201848 w 9001306"/>
              <a:gd name="connsiteY3" fmla="*/ 1488820 h 1654850"/>
              <a:gd name="connsiteX4" fmla="*/ 3897152 w 9001306"/>
              <a:gd name="connsiteY4" fmla="*/ 57636 h 1654850"/>
              <a:gd name="connsiteX5" fmla="*/ 2494974 w 9001306"/>
              <a:gd name="connsiteY5" fmla="*/ 1482227 h 1654850"/>
              <a:gd name="connsiteX6" fmla="*/ 1123921 w 9001306"/>
              <a:gd name="connsiteY6" fmla="*/ 48613 h 1654850"/>
              <a:gd name="connsiteX7" fmla="*/ 0 w 9001306"/>
              <a:gd name="connsiteY7" fmla="*/ 1583550 h 1654850"/>
              <a:gd name="connsiteX0" fmla="*/ 639721 w 9001306"/>
              <a:gd name="connsiteY0" fmla="*/ 1542605 h 1654850"/>
              <a:gd name="connsiteX1" fmla="*/ 800016 w 9001306"/>
              <a:gd name="connsiteY1" fmla="*/ 1654850 h 1654850"/>
              <a:gd name="connsiteX2" fmla="*/ 639721 w 9001306"/>
              <a:gd name="connsiteY2" fmla="*/ 1542605 h 1654850"/>
              <a:gd name="connsiteX0" fmla="*/ 9001306 w 9001306"/>
              <a:gd name="connsiteY0" fmla="*/ 189823 h 1654850"/>
              <a:gd name="connsiteX1" fmla="*/ 7960240 w 9001306"/>
              <a:gd name="connsiteY1" fmla="*/ 1527010 h 1654850"/>
              <a:gd name="connsiteX2" fmla="*/ 6579166 w 9001306"/>
              <a:gd name="connsiteY2" fmla="*/ 59729 h 1654850"/>
              <a:gd name="connsiteX3" fmla="*/ 5201848 w 9001306"/>
              <a:gd name="connsiteY3" fmla="*/ 1488820 h 1654850"/>
              <a:gd name="connsiteX4" fmla="*/ 3897152 w 9001306"/>
              <a:gd name="connsiteY4" fmla="*/ 57636 h 1654850"/>
              <a:gd name="connsiteX5" fmla="*/ 2494974 w 9001306"/>
              <a:gd name="connsiteY5" fmla="*/ 1482227 h 1654850"/>
              <a:gd name="connsiteX6" fmla="*/ 1123921 w 9001306"/>
              <a:gd name="connsiteY6" fmla="*/ 48613 h 1654850"/>
              <a:gd name="connsiteX7" fmla="*/ 0 w 9001306"/>
              <a:gd name="connsiteY7" fmla="*/ 1583550 h 1654850"/>
              <a:gd name="connsiteX0" fmla="*/ 639721 w 9001306"/>
              <a:gd name="connsiteY0" fmla="*/ 1496920 h 1609165"/>
              <a:gd name="connsiteX1" fmla="*/ 800016 w 9001306"/>
              <a:gd name="connsiteY1" fmla="*/ 1609165 h 1609165"/>
              <a:gd name="connsiteX2" fmla="*/ 639721 w 9001306"/>
              <a:gd name="connsiteY2" fmla="*/ 1496920 h 1609165"/>
              <a:gd name="connsiteX0" fmla="*/ 9001306 w 9001306"/>
              <a:gd name="connsiteY0" fmla="*/ 144138 h 1609165"/>
              <a:gd name="connsiteX1" fmla="*/ 7960240 w 9001306"/>
              <a:gd name="connsiteY1" fmla="*/ 1481325 h 1609165"/>
              <a:gd name="connsiteX2" fmla="*/ 6579166 w 9001306"/>
              <a:gd name="connsiteY2" fmla="*/ 14044 h 1609165"/>
              <a:gd name="connsiteX3" fmla="*/ 5201848 w 9001306"/>
              <a:gd name="connsiteY3" fmla="*/ 1443135 h 1609165"/>
              <a:gd name="connsiteX4" fmla="*/ 3897152 w 9001306"/>
              <a:gd name="connsiteY4" fmla="*/ 11951 h 1609165"/>
              <a:gd name="connsiteX5" fmla="*/ 2494974 w 9001306"/>
              <a:gd name="connsiteY5" fmla="*/ 1436542 h 1609165"/>
              <a:gd name="connsiteX6" fmla="*/ 1123921 w 9001306"/>
              <a:gd name="connsiteY6" fmla="*/ 2928 h 1609165"/>
              <a:gd name="connsiteX7" fmla="*/ 0 w 9001306"/>
              <a:gd name="connsiteY7" fmla="*/ 1537865 h 1609165"/>
              <a:gd name="connsiteX0" fmla="*/ 639721 w 9001306"/>
              <a:gd name="connsiteY0" fmla="*/ 1496920 h 1609165"/>
              <a:gd name="connsiteX1" fmla="*/ 800016 w 9001306"/>
              <a:gd name="connsiteY1" fmla="*/ 1609165 h 1609165"/>
              <a:gd name="connsiteX2" fmla="*/ 639721 w 9001306"/>
              <a:gd name="connsiteY2" fmla="*/ 1496920 h 1609165"/>
              <a:gd name="connsiteX0" fmla="*/ 9001306 w 9001306"/>
              <a:gd name="connsiteY0" fmla="*/ 144138 h 1609165"/>
              <a:gd name="connsiteX1" fmla="*/ 7960240 w 9001306"/>
              <a:gd name="connsiteY1" fmla="*/ 1481325 h 1609165"/>
              <a:gd name="connsiteX2" fmla="*/ 6579166 w 9001306"/>
              <a:gd name="connsiteY2" fmla="*/ 14044 h 1609165"/>
              <a:gd name="connsiteX3" fmla="*/ 5201848 w 9001306"/>
              <a:gd name="connsiteY3" fmla="*/ 1443135 h 1609165"/>
              <a:gd name="connsiteX4" fmla="*/ 3897152 w 9001306"/>
              <a:gd name="connsiteY4" fmla="*/ 11951 h 1609165"/>
              <a:gd name="connsiteX5" fmla="*/ 2494974 w 9001306"/>
              <a:gd name="connsiteY5" fmla="*/ 1436542 h 1609165"/>
              <a:gd name="connsiteX6" fmla="*/ 1123921 w 9001306"/>
              <a:gd name="connsiteY6" fmla="*/ 2928 h 1609165"/>
              <a:gd name="connsiteX7" fmla="*/ 0 w 9001306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1848 w 9081443"/>
              <a:gd name="connsiteY3" fmla="*/ 1443135 h 1609165"/>
              <a:gd name="connsiteX4" fmla="*/ 3897152 w 9081443"/>
              <a:gd name="connsiteY4" fmla="*/ 11951 h 1609165"/>
              <a:gd name="connsiteX5" fmla="*/ 2494974 w 9081443"/>
              <a:gd name="connsiteY5" fmla="*/ 1436542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1848 w 9081443"/>
              <a:gd name="connsiteY3" fmla="*/ 1443135 h 1609165"/>
              <a:gd name="connsiteX4" fmla="*/ 3897152 w 9081443"/>
              <a:gd name="connsiteY4" fmla="*/ 11951 h 1609165"/>
              <a:gd name="connsiteX5" fmla="*/ 2494974 w 9081443"/>
              <a:gd name="connsiteY5" fmla="*/ 1477463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9081443"/>
              <a:gd name="connsiteY0" fmla="*/ 1496920 h 1609165"/>
              <a:gd name="connsiteX1" fmla="*/ 800016 w 9081443"/>
              <a:gd name="connsiteY1" fmla="*/ 1609165 h 1609165"/>
              <a:gd name="connsiteX2" fmla="*/ 639721 w 9081443"/>
              <a:gd name="connsiteY2" fmla="*/ 1496920 h 1609165"/>
              <a:gd name="connsiteX0" fmla="*/ 9081443 w 9081443"/>
              <a:gd name="connsiteY0" fmla="*/ 24673 h 1609165"/>
              <a:gd name="connsiteX1" fmla="*/ 7960240 w 9081443"/>
              <a:gd name="connsiteY1" fmla="*/ 1481325 h 1609165"/>
              <a:gd name="connsiteX2" fmla="*/ 6579166 w 9081443"/>
              <a:gd name="connsiteY2" fmla="*/ 14044 h 1609165"/>
              <a:gd name="connsiteX3" fmla="*/ 5206677 w 9081443"/>
              <a:gd name="connsiteY3" fmla="*/ 1472972 h 1609165"/>
              <a:gd name="connsiteX4" fmla="*/ 3897152 w 9081443"/>
              <a:gd name="connsiteY4" fmla="*/ 11951 h 1609165"/>
              <a:gd name="connsiteX5" fmla="*/ 2494974 w 9081443"/>
              <a:gd name="connsiteY5" fmla="*/ 1477463 h 1609165"/>
              <a:gd name="connsiteX6" fmla="*/ 1123921 w 9081443"/>
              <a:gd name="connsiteY6" fmla="*/ 2928 h 1609165"/>
              <a:gd name="connsiteX7" fmla="*/ 0 w 9081443"/>
              <a:gd name="connsiteY7" fmla="*/ 1537865 h 1609165"/>
              <a:gd name="connsiteX0" fmla="*/ 639721 w 7960240"/>
              <a:gd name="connsiteY0" fmla="*/ 1496920 h 1609165"/>
              <a:gd name="connsiteX1" fmla="*/ 800016 w 7960240"/>
              <a:gd name="connsiteY1" fmla="*/ 1609165 h 1609165"/>
              <a:gd name="connsiteX2" fmla="*/ 639721 w 7960240"/>
              <a:gd name="connsiteY2" fmla="*/ 1496920 h 1609165"/>
              <a:gd name="connsiteX0" fmla="*/ 7960240 w 7960240"/>
              <a:gd name="connsiteY0" fmla="*/ 1481325 h 1609165"/>
              <a:gd name="connsiteX1" fmla="*/ 6579166 w 7960240"/>
              <a:gd name="connsiteY1" fmla="*/ 14044 h 1609165"/>
              <a:gd name="connsiteX2" fmla="*/ 5206677 w 7960240"/>
              <a:gd name="connsiteY2" fmla="*/ 1472972 h 1609165"/>
              <a:gd name="connsiteX3" fmla="*/ 3897152 w 7960240"/>
              <a:gd name="connsiteY3" fmla="*/ 11951 h 1609165"/>
              <a:gd name="connsiteX4" fmla="*/ 2494974 w 7960240"/>
              <a:gd name="connsiteY4" fmla="*/ 1477463 h 1609165"/>
              <a:gd name="connsiteX5" fmla="*/ 1123921 w 7960240"/>
              <a:gd name="connsiteY5" fmla="*/ 2928 h 1609165"/>
              <a:gd name="connsiteX6" fmla="*/ 0 w 7960240"/>
              <a:gd name="connsiteY6" fmla="*/ 1537865 h 1609165"/>
              <a:gd name="connsiteX0" fmla="*/ 639721 w 7960240"/>
              <a:gd name="connsiteY0" fmla="*/ 1607161 h 1719406"/>
              <a:gd name="connsiteX1" fmla="*/ 800016 w 7960240"/>
              <a:gd name="connsiteY1" fmla="*/ 1719406 h 1719406"/>
              <a:gd name="connsiteX2" fmla="*/ 639721 w 7960240"/>
              <a:gd name="connsiteY2" fmla="*/ 1607161 h 1719406"/>
              <a:gd name="connsiteX0" fmla="*/ 7960240 w 7960240"/>
              <a:gd name="connsiteY0" fmla="*/ 1591566 h 1719406"/>
              <a:gd name="connsiteX1" fmla="*/ 6579166 w 7960240"/>
              <a:gd name="connsiteY1" fmla="*/ 124285 h 1719406"/>
              <a:gd name="connsiteX2" fmla="*/ 5206677 w 7960240"/>
              <a:gd name="connsiteY2" fmla="*/ 1583213 h 1719406"/>
              <a:gd name="connsiteX3" fmla="*/ 3897152 w 7960240"/>
              <a:gd name="connsiteY3" fmla="*/ 122192 h 1719406"/>
              <a:gd name="connsiteX4" fmla="*/ 2494974 w 7960240"/>
              <a:gd name="connsiteY4" fmla="*/ 1587704 h 1719406"/>
              <a:gd name="connsiteX5" fmla="*/ 1123921 w 7960240"/>
              <a:gd name="connsiteY5" fmla="*/ 113169 h 1719406"/>
              <a:gd name="connsiteX6" fmla="*/ 351886 w 7960240"/>
              <a:gd name="connsiteY6" fmla="*/ 908692 h 1719406"/>
              <a:gd name="connsiteX7" fmla="*/ 0 w 7960240"/>
              <a:gd name="connsiteY7" fmla="*/ 1648106 h 1719406"/>
              <a:gd name="connsiteX0" fmla="*/ 639721 w 7960240"/>
              <a:gd name="connsiteY0" fmla="*/ 1607161 h 1721996"/>
              <a:gd name="connsiteX1" fmla="*/ 800016 w 7960240"/>
              <a:gd name="connsiteY1" fmla="*/ 1719406 h 1721996"/>
              <a:gd name="connsiteX2" fmla="*/ 639721 w 7960240"/>
              <a:gd name="connsiteY2" fmla="*/ 1607161 h 1721996"/>
              <a:gd name="connsiteX0" fmla="*/ 7960240 w 7960240"/>
              <a:gd name="connsiteY0" fmla="*/ 1591566 h 1721996"/>
              <a:gd name="connsiteX1" fmla="*/ 6579166 w 7960240"/>
              <a:gd name="connsiteY1" fmla="*/ 124285 h 1721996"/>
              <a:gd name="connsiteX2" fmla="*/ 5206677 w 7960240"/>
              <a:gd name="connsiteY2" fmla="*/ 1583213 h 1721996"/>
              <a:gd name="connsiteX3" fmla="*/ 3897152 w 7960240"/>
              <a:gd name="connsiteY3" fmla="*/ 122192 h 1721996"/>
              <a:gd name="connsiteX4" fmla="*/ 3186666 w 7960240"/>
              <a:gd name="connsiteY4" fmla="*/ 918922 h 1721996"/>
              <a:gd name="connsiteX5" fmla="*/ 2494974 w 7960240"/>
              <a:gd name="connsiteY5" fmla="*/ 1587704 h 1721996"/>
              <a:gd name="connsiteX6" fmla="*/ 1123921 w 7960240"/>
              <a:gd name="connsiteY6" fmla="*/ 113169 h 1721996"/>
              <a:gd name="connsiteX7" fmla="*/ 351886 w 7960240"/>
              <a:gd name="connsiteY7" fmla="*/ 908692 h 1721996"/>
              <a:gd name="connsiteX8" fmla="*/ 0 w 7960240"/>
              <a:gd name="connsiteY8" fmla="*/ 1648106 h 1721996"/>
              <a:gd name="connsiteX0" fmla="*/ 639721 w 6579166"/>
              <a:gd name="connsiteY0" fmla="*/ 1607161 h 1721996"/>
              <a:gd name="connsiteX1" fmla="*/ 800016 w 6579166"/>
              <a:gd name="connsiteY1" fmla="*/ 1719406 h 1721996"/>
              <a:gd name="connsiteX2" fmla="*/ 639721 w 6579166"/>
              <a:gd name="connsiteY2" fmla="*/ 1607161 h 1721996"/>
              <a:gd name="connsiteX0" fmla="*/ 6579166 w 6579166"/>
              <a:gd name="connsiteY0" fmla="*/ 124285 h 1721996"/>
              <a:gd name="connsiteX1" fmla="*/ 5206677 w 6579166"/>
              <a:gd name="connsiteY1" fmla="*/ 1583213 h 1721996"/>
              <a:gd name="connsiteX2" fmla="*/ 3897152 w 6579166"/>
              <a:gd name="connsiteY2" fmla="*/ 122192 h 1721996"/>
              <a:gd name="connsiteX3" fmla="*/ 3186666 w 6579166"/>
              <a:gd name="connsiteY3" fmla="*/ 918922 h 1721996"/>
              <a:gd name="connsiteX4" fmla="*/ 2494974 w 6579166"/>
              <a:gd name="connsiteY4" fmla="*/ 1587704 h 1721996"/>
              <a:gd name="connsiteX5" fmla="*/ 1123921 w 6579166"/>
              <a:gd name="connsiteY5" fmla="*/ 113169 h 1721996"/>
              <a:gd name="connsiteX6" fmla="*/ 351886 w 6579166"/>
              <a:gd name="connsiteY6" fmla="*/ 908692 h 1721996"/>
              <a:gd name="connsiteX7" fmla="*/ 0 w 6579166"/>
              <a:gd name="connsiteY7" fmla="*/ 1648106 h 1721996"/>
              <a:gd name="connsiteX0" fmla="*/ 639721 w 5206677"/>
              <a:gd name="connsiteY0" fmla="*/ 1607161 h 1721996"/>
              <a:gd name="connsiteX1" fmla="*/ 800016 w 5206677"/>
              <a:gd name="connsiteY1" fmla="*/ 1719406 h 1721996"/>
              <a:gd name="connsiteX2" fmla="*/ 639721 w 5206677"/>
              <a:gd name="connsiteY2" fmla="*/ 1607161 h 1721996"/>
              <a:gd name="connsiteX0" fmla="*/ 5206677 w 5206677"/>
              <a:gd name="connsiteY0" fmla="*/ 1583213 h 1721996"/>
              <a:gd name="connsiteX1" fmla="*/ 3897152 w 5206677"/>
              <a:gd name="connsiteY1" fmla="*/ 122192 h 1721996"/>
              <a:gd name="connsiteX2" fmla="*/ 3186666 w 5206677"/>
              <a:gd name="connsiteY2" fmla="*/ 918922 h 1721996"/>
              <a:gd name="connsiteX3" fmla="*/ 2494974 w 5206677"/>
              <a:gd name="connsiteY3" fmla="*/ 1587704 h 1721996"/>
              <a:gd name="connsiteX4" fmla="*/ 1123921 w 5206677"/>
              <a:gd name="connsiteY4" fmla="*/ 113169 h 1721996"/>
              <a:gd name="connsiteX5" fmla="*/ 351886 w 5206677"/>
              <a:gd name="connsiteY5" fmla="*/ 908692 h 1721996"/>
              <a:gd name="connsiteX6" fmla="*/ 0 w 5206677"/>
              <a:gd name="connsiteY6" fmla="*/ 1648106 h 1721996"/>
              <a:gd name="connsiteX0" fmla="*/ 639721 w 3897152"/>
              <a:gd name="connsiteY0" fmla="*/ 1607161 h 1721996"/>
              <a:gd name="connsiteX1" fmla="*/ 800016 w 3897152"/>
              <a:gd name="connsiteY1" fmla="*/ 1719406 h 1721996"/>
              <a:gd name="connsiteX2" fmla="*/ 639721 w 3897152"/>
              <a:gd name="connsiteY2" fmla="*/ 1607161 h 1721996"/>
              <a:gd name="connsiteX0" fmla="*/ 3897152 w 3897152"/>
              <a:gd name="connsiteY0" fmla="*/ 122192 h 1721996"/>
              <a:gd name="connsiteX1" fmla="*/ 3186666 w 3897152"/>
              <a:gd name="connsiteY1" fmla="*/ 918922 h 1721996"/>
              <a:gd name="connsiteX2" fmla="*/ 2494974 w 3897152"/>
              <a:gd name="connsiteY2" fmla="*/ 1587704 h 1721996"/>
              <a:gd name="connsiteX3" fmla="*/ 1123921 w 3897152"/>
              <a:gd name="connsiteY3" fmla="*/ 113169 h 1721996"/>
              <a:gd name="connsiteX4" fmla="*/ 351886 w 3897152"/>
              <a:gd name="connsiteY4" fmla="*/ 908692 h 1721996"/>
              <a:gd name="connsiteX5" fmla="*/ 0 w 3897152"/>
              <a:gd name="connsiteY5" fmla="*/ 1648106 h 1721996"/>
              <a:gd name="connsiteX0" fmla="*/ 639721 w 3186666"/>
              <a:gd name="connsiteY0" fmla="*/ 1607161 h 1721996"/>
              <a:gd name="connsiteX1" fmla="*/ 800016 w 3186666"/>
              <a:gd name="connsiteY1" fmla="*/ 1719406 h 1721996"/>
              <a:gd name="connsiteX2" fmla="*/ 639721 w 3186666"/>
              <a:gd name="connsiteY2" fmla="*/ 1607161 h 1721996"/>
              <a:gd name="connsiteX0" fmla="*/ 3186666 w 3186666"/>
              <a:gd name="connsiteY0" fmla="*/ 918922 h 1721996"/>
              <a:gd name="connsiteX1" fmla="*/ 2494974 w 3186666"/>
              <a:gd name="connsiteY1" fmla="*/ 1587704 h 1721996"/>
              <a:gd name="connsiteX2" fmla="*/ 1123921 w 3186666"/>
              <a:gd name="connsiteY2" fmla="*/ 113169 h 1721996"/>
              <a:gd name="connsiteX3" fmla="*/ 351886 w 3186666"/>
              <a:gd name="connsiteY3" fmla="*/ 908692 h 1721996"/>
              <a:gd name="connsiteX4" fmla="*/ 0 w 3186666"/>
              <a:gd name="connsiteY4" fmla="*/ 1648106 h 1721996"/>
              <a:gd name="connsiteX0" fmla="*/ 287835 w 2834780"/>
              <a:gd name="connsiteY0" fmla="*/ 1607161 h 1721996"/>
              <a:gd name="connsiteX1" fmla="*/ 448130 w 2834780"/>
              <a:gd name="connsiteY1" fmla="*/ 1719406 h 1721996"/>
              <a:gd name="connsiteX2" fmla="*/ 287835 w 2834780"/>
              <a:gd name="connsiteY2" fmla="*/ 1607161 h 1721996"/>
              <a:gd name="connsiteX0" fmla="*/ 2834780 w 2834780"/>
              <a:gd name="connsiteY0" fmla="*/ 918922 h 1721996"/>
              <a:gd name="connsiteX1" fmla="*/ 2143088 w 2834780"/>
              <a:gd name="connsiteY1" fmla="*/ 1587704 h 1721996"/>
              <a:gd name="connsiteX2" fmla="*/ 772035 w 2834780"/>
              <a:gd name="connsiteY2" fmla="*/ 113169 h 1721996"/>
              <a:gd name="connsiteX3" fmla="*/ 0 w 2834780"/>
              <a:gd name="connsiteY3" fmla="*/ 908692 h 1721996"/>
              <a:gd name="connsiteX0" fmla="*/ 287835 w 2834780"/>
              <a:gd name="connsiteY0" fmla="*/ 1506816 h 1621651"/>
              <a:gd name="connsiteX1" fmla="*/ 448130 w 2834780"/>
              <a:gd name="connsiteY1" fmla="*/ 1619061 h 1621651"/>
              <a:gd name="connsiteX2" fmla="*/ 287835 w 2834780"/>
              <a:gd name="connsiteY2" fmla="*/ 1506816 h 1621651"/>
              <a:gd name="connsiteX0" fmla="*/ 2834780 w 2834780"/>
              <a:gd name="connsiteY0" fmla="*/ 818577 h 1621651"/>
              <a:gd name="connsiteX1" fmla="*/ 2143088 w 2834780"/>
              <a:gd name="connsiteY1" fmla="*/ 1487359 h 1621651"/>
              <a:gd name="connsiteX2" fmla="*/ 772035 w 2834780"/>
              <a:gd name="connsiteY2" fmla="*/ 12824 h 1621651"/>
              <a:gd name="connsiteX3" fmla="*/ 0 w 2834780"/>
              <a:gd name="connsiteY3" fmla="*/ 808347 h 1621651"/>
              <a:gd name="connsiteX0" fmla="*/ 287835 w 2834780"/>
              <a:gd name="connsiteY0" fmla="*/ 1493992 h 1608827"/>
              <a:gd name="connsiteX1" fmla="*/ 448130 w 2834780"/>
              <a:gd name="connsiteY1" fmla="*/ 1606237 h 1608827"/>
              <a:gd name="connsiteX2" fmla="*/ 287835 w 2834780"/>
              <a:gd name="connsiteY2" fmla="*/ 1493992 h 1608827"/>
              <a:gd name="connsiteX0" fmla="*/ 2834780 w 2834780"/>
              <a:gd name="connsiteY0" fmla="*/ 805753 h 1608827"/>
              <a:gd name="connsiteX1" fmla="*/ 2143088 w 2834780"/>
              <a:gd name="connsiteY1" fmla="*/ 1474535 h 1608827"/>
              <a:gd name="connsiteX2" fmla="*/ 772035 w 2834780"/>
              <a:gd name="connsiteY2" fmla="*/ 0 h 1608827"/>
              <a:gd name="connsiteX3" fmla="*/ 0 w 2834780"/>
              <a:gd name="connsiteY3" fmla="*/ 795523 h 1608827"/>
              <a:gd name="connsiteX0" fmla="*/ 287835 w 2834780"/>
              <a:gd name="connsiteY0" fmla="*/ 1493992 h 1608827"/>
              <a:gd name="connsiteX1" fmla="*/ 448130 w 2834780"/>
              <a:gd name="connsiteY1" fmla="*/ 1606237 h 1608827"/>
              <a:gd name="connsiteX2" fmla="*/ 287835 w 2834780"/>
              <a:gd name="connsiteY2" fmla="*/ 1493992 h 1608827"/>
              <a:gd name="connsiteX0" fmla="*/ 2834780 w 2834780"/>
              <a:gd name="connsiteY0" fmla="*/ 805753 h 1608827"/>
              <a:gd name="connsiteX1" fmla="*/ 2143088 w 2834780"/>
              <a:gd name="connsiteY1" fmla="*/ 1474535 h 1608827"/>
              <a:gd name="connsiteX2" fmla="*/ 772035 w 2834780"/>
              <a:gd name="connsiteY2" fmla="*/ 0 h 1608827"/>
              <a:gd name="connsiteX3" fmla="*/ 0 w 2834780"/>
              <a:gd name="connsiteY3" fmla="*/ 795523 h 1608827"/>
              <a:gd name="connsiteX0" fmla="*/ 287835 w 2834780"/>
              <a:gd name="connsiteY0" fmla="*/ 1493992 h 1608828"/>
              <a:gd name="connsiteX1" fmla="*/ 448130 w 2834780"/>
              <a:gd name="connsiteY1" fmla="*/ 1606237 h 1608828"/>
              <a:gd name="connsiteX2" fmla="*/ 287835 w 2834780"/>
              <a:gd name="connsiteY2" fmla="*/ 1493992 h 1608828"/>
              <a:gd name="connsiteX0" fmla="*/ 2834780 w 2834780"/>
              <a:gd name="connsiteY0" fmla="*/ 805753 h 1608828"/>
              <a:gd name="connsiteX1" fmla="*/ 2143088 w 2834780"/>
              <a:gd name="connsiteY1" fmla="*/ 1474536 h 1608828"/>
              <a:gd name="connsiteX2" fmla="*/ 772035 w 2834780"/>
              <a:gd name="connsiteY2" fmla="*/ 0 h 1608828"/>
              <a:gd name="connsiteX3" fmla="*/ 0 w 2834780"/>
              <a:gd name="connsiteY3" fmla="*/ 795523 h 1608828"/>
              <a:gd name="connsiteX0" fmla="*/ 287835 w 2834780"/>
              <a:gd name="connsiteY0" fmla="*/ 1493992 h 1608829"/>
              <a:gd name="connsiteX1" fmla="*/ 448130 w 2834780"/>
              <a:gd name="connsiteY1" fmla="*/ 1606237 h 1608829"/>
              <a:gd name="connsiteX2" fmla="*/ 287835 w 2834780"/>
              <a:gd name="connsiteY2" fmla="*/ 1493992 h 1608829"/>
              <a:gd name="connsiteX0" fmla="*/ 2834780 w 2834780"/>
              <a:gd name="connsiteY0" fmla="*/ 805753 h 1608829"/>
              <a:gd name="connsiteX1" fmla="*/ 2143088 w 2834780"/>
              <a:gd name="connsiteY1" fmla="*/ 1474537 h 1608829"/>
              <a:gd name="connsiteX2" fmla="*/ 772035 w 2834780"/>
              <a:gd name="connsiteY2" fmla="*/ 0 h 1608829"/>
              <a:gd name="connsiteX3" fmla="*/ 0 w 2834780"/>
              <a:gd name="connsiteY3" fmla="*/ 795523 h 1608829"/>
              <a:gd name="connsiteX0" fmla="*/ 287835 w 2834780"/>
              <a:gd name="connsiteY0" fmla="*/ 1493992 h 1608829"/>
              <a:gd name="connsiteX1" fmla="*/ 448130 w 2834780"/>
              <a:gd name="connsiteY1" fmla="*/ 1606237 h 1608829"/>
              <a:gd name="connsiteX2" fmla="*/ 287835 w 2834780"/>
              <a:gd name="connsiteY2" fmla="*/ 1493992 h 1608829"/>
              <a:gd name="connsiteX0" fmla="*/ 2834780 w 2834780"/>
              <a:gd name="connsiteY0" fmla="*/ 805753 h 1608829"/>
              <a:gd name="connsiteX1" fmla="*/ 2143088 w 2834780"/>
              <a:gd name="connsiteY1" fmla="*/ 1474537 h 1608829"/>
              <a:gd name="connsiteX2" fmla="*/ 772035 w 2834780"/>
              <a:gd name="connsiteY2" fmla="*/ 0 h 1608829"/>
              <a:gd name="connsiteX3" fmla="*/ 0 w 2834780"/>
              <a:gd name="connsiteY3" fmla="*/ 795523 h 1608829"/>
              <a:gd name="connsiteX0" fmla="*/ 287835 w 2834780"/>
              <a:gd name="connsiteY0" fmla="*/ 1493992 h 1606237"/>
              <a:gd name="connsiteX1" fmla="*/ 448130 w 2834780"/>
              <a:gd name="connsiteY1" fmla="*/ 1606237 h 1606237"/>
              <a:gd name="connsiteX2" fmla="*/ 287835 w 2834780"/>
              <a:gd name="connsiteY2" fmla="*/ 1493992 h 1606237"/>
              <a:gd name="connsiteX0" fmla="*/ 2834780 w 2834780"/>
              <a:gd name="connsiteY0" fmla="*/ 805753 h 1606237"/>
              <a:gd name="connsiteX1" fmla="*/ 2143088 w 2834780"/>
              <a:gd name="connsiteY1" fmla="*/ 1474537 h 1606237"/>
              <a:gd name="connsiteX2" fmla="*/ 772035 w 2834780"/>
              <a:gd name="connsiteY2" fmla="*/ 0 h 1606237"/>
              <a:gd name="connsiteX3" fmla="*/ 0 w 2834780"/>
              <a:gd name="connsiteY3" fmla="*/ 795523 h 1606237"/>
              <a:gd name="connsiteX0" fmla="*/ 287835 w 2834780"/>
              <a:gd name="connsiteY0" fmla="*/ 1493992 h 1606237"/>
              <a:gd name="connsiteX1" fmla="*/ 448130 w 2834780"/>
              <a:gd name="connsiteY1" fmla="*/ 1606237 h 1606237"/>
              <a:gd name="connsiteX2" fmla="*/ 287835 w 2834780"/>
              <a:gd name="connsiteY2" fmla="*/ 1493992 h 1606237"/>
              <a:gd name="connsiteX0" fmla="*/ 2834780 w 2834780"/>
              <a:gd name="connsiteY0" fmla="*/ 805753 h 1606237"/>
              <a:gd name="connsiteX1" fmla="*/ 2132901 w 2834780"/>
              <a:gd name="connsiteY1" fmla="*/ 1574882 h 1606237"/>
              <a:gd name="connsiteX2" fmla="*/ 772035 w 2834780"/>
              <a:gd name="connsiteY2" fmla="*/ 0 h 1606237"/>
              <a:gd name="connsiteX3" fmla="*/ 0 w 2834780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3094541"/>
              <a:gd name="connsiteY0" fmla="*/ 1493992 h 1606237"/>
              <a:gd name="connsiteX1" fmla="*/ 448130 w 3094541"/>
              <a:gd name="connsiteY1" fmla="*/ 1606237 h 1606237"/>
              <a:gd name="connsiteX2" fmla="*/ 287835 w 3094541"/>
              <a:gd name="connsiteY2" fmla="*/ 1493992 h 1606237"/>
              <a:gd name="connsiteX0" fmla="*/ 3094541 w 3094541"/>
              <a:gd name="connsiteY0" fmla="*/ 816133 h 1606237"/>
              <a:gd name="connsiteX1" fmla="*/ 2132901 w 3094541"/>
              <a:gd name="connsiteY1" fmla="*/ 1574882 h 1606237"/>
              <a:gd name="connsiteX2" fmla="*/ 772035 w 3094541"/>
              <a:gd name="connsiteY2" fmla="*/ 0 h 1606237"/>
              <a:gd name="connsiteX3" fmla="*/ 0 w 30945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32901 w 2979941"/>
              <a:gd name="connsiteY1" fmla="*/ 1574882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522"/>
              <a:gd name="connsiteX1" fmla="*/ 448130 w 2979941"/>
              <a:gd name="connsiteY1" fmla="*/ 1606237 h 1606522"/>
              <a:gd name="connsiteX2" fmla="*/ 287835 w 2979941"/>
              <a:gd name="connsiteY2" fmla="*/ 1493992 h 1606522"/>
              <a:gd name="connsiteX0" fmla="*/ 2979941 w 2979941"/>
              <a:gd name="connsiteY0" fmla="*/ 826513 h 1606522"/>
              <a:gd name="connsiteX1" fmla="*/ 2194022 w 2979941"/>
              <a:gd name="connsiteY1" fmla="*/ 1588723 h 1606522"/>
              <a:gd name="connsiteX2" fmla="*/ 772035 w 2979941"/>
              <a:gd name="connsiteY2" fmla="*/ 0 h 1606522"/>
              <a:gd name="connsiteX3" fmla="*/ 0 w 2979941"/>
              <a:gd name="connsiteY3" fmla="*/ 795523 h 1606522"/>
              <a:gd name="connsiteX0" fmla="*/ 287835 w 2979941"/>
              <a:gd name="connsiteY0" fmla="*/ 1493992 h 1606237"/>
              <a:gd name="connsiteX1" fmla="*/ 448130 w 2979941"/>
              <a:gd name="connsiteY1" fmla="*/ 1606237 h 1606237"/>
              <a:gd name="connsiteX2" fmla="*/ 287835 w 2979941"/>
              <a:gd name="connsiteY2" fmla="*/ 1493992 h 1606237"/>
              <a:gd name="connsiteX0" fmla="*/ 2979941 w 2979941"/>
              <a:gd name="connsiteY0" fmla="*/ 826513 h 1606237"/>
              <a:gd name="connsiteX1" fmla="*/ 2194022 w 2979941"/>
              <a:gd name="connsiteY1" fmla="*/ 1588723 h 1606237"/>
              <a:gd name="connsiteX2" fmla="*/ 772035 w 2979941"/>
              <a:gd name="connsiteY2" fmla="*/ 0 h 1606237"/>
              <a:gd name="connsiteX3" fmla="*/ 0 w 2979941"/>
              <a:gd name="connsiteY3" fmla="*/ 795523 h 1606237"/>
              <a:gd name="connsiteX0" fmla="*/ 287835 w 2979941"/>
              <a:gd name="connsiteY0" fmla="*/ 1493992 h 1616764"/>
              <a:gd name="connsiteX1" fmla="*/ 448130 w 2979941"/>
              <a:gd name="connsiteY1" fmla="*/ 1606237 h 1616764"/>
              <a:gd name="connsiteX2" fmla="*/ 287835 w 2979941"/>
              <a:gd name="connsiteY2" fmla="*/ 1493992 h 1616764"/>
              <a:gd name="connsiteX0" fmla="*/ 2979941 w 2979941"/>
              <a:gd name="connsiteY0" fmla="*/ 826513 h 1616764"/>
              <a:gd name="connsiteX1" fmla="*/ 2194022 w 2979941"/>
              <a:gd name="connsiteY1" fmla="*/ 1605886 h 1616764"/>
              <a:gd name="connsiteX2" fmla="*/ 772035 w 2979941"/>
              <a:gd name="connsiteY2" fmla="*/ 0 h 1616764"/>
              <a:gd name="connsiteX3" fmla="*/ 0 w 2979941"/>
              <a:gd name="connsiteY3" fmla="*/ 795523 h 1616764"/>
              <a:gd name="connsiteX0" fmla="*/ 287835 w 2194022"/>
              <a:gd name="connsiteY0" fmla="*/ 1493992 h 1606237"/>
              <a:gd name="connsiteX1" fmla="*/ 448130 w 2194022"/>
              <a:gd name="connsiteY1" fmla="*/ 1606237 h 1606237"/>
              <a:gd name="connsiteX2" fmla="*/ 287835 w 2194022"/>
              <a:gd name="connsiteY2" fmla="*/ 1493992 h 1606237"/>
              <a:gd name="connsiteX0" fmla="*/ 2194022 w 2194022"/>
              <a:gd name="connsiteY0" fmla="*/ 1605886 h 1606237"/>
              <a:gd name="connsiteX1" fmla="*/ 772035 w 2194022"/>
              <a:gd name="connsiteY1" fmla="*/ 0 h 1606237"/>
              <a:gd name="connsiteX2" fmla="*/ 0 w 2194022"/>
              <a:gd name="connsiteY2" fmla="*/ 795523 h 1606237"/>
              <a:gd name="connsiteX0" fmla="*/ 287835 w 2194022"/>
              <a:gd name="connsiteY0" fmla="*/ 1493992 h 1606237"/>
              <a:gd name="connsiteX1" fmla="*/ 448130 w 2194022"/>
              <a:gd name="connsiteY1" fmla="*/ 1606237 h 1606237"/>
              <a:gd name="connsiteX2" fmla="*/ 287835 w 2194022"/>
              <a:gd name="connsiteY2" fmla="*/ 1493992 h 1606237"/>
              <a:gd name="connsiteX0" fmla="*/ 2194022 w 2194022"/>
              <a:gd name="connsiteY0" fmla="*/ 1605886 h 1606237"/>
              <a:gd name="connsiteX1" fmla="*/ 1471006 w 2194022"/>
              <a:gd name="connsiteY1" fmla="*/ 806434 h 1606237"/>
              <a:gd name="connsiteX2" fmla="*/ 772035 w 2194022"/>
              <a:gd name="connsiteY2" fmla="*/ 0 h 1606237"/>
              <a:gd name="connsiteX3" fmla="*/ 0 w 2194022"/>
              <a:gd name="connsiteY3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72035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3992 h 1606237"/>
              <a:gd name="connsiteX1" fmla="*/ 448130 w 1471006"/>
              <a:gd name="connsiteY1" fmla="*/ 1606237 h 1606237"/>
              <a:gd name="connsiteX2" fmla="*/ 287835 w 1471006"/>
              <a:gd name="connsiteY2" fmla="*/ 1493992 h 1606237"/>
              <a:gd name="connsiteX0" fmla="*/ 1471006 w 1471006"/>
              <a:gd name="connsiteY0" fmla="*/ 806434 h 1606237"/>
              <a:gd name="connsiteX1" fmla="*/ 721972 w 1471006"/>
              <a:gd name="connsiteY1" fmla="*/ 0 h 1606237"/>
              <a:gd name="connsiteX2" fmla="*/ 0 w 1471006"/>
              <a:gd name="connsiteY2" fmla="*/ 795523 h 1606237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71006"/>
              <a:gd name="connsiteY0" fmla="*/ 1503612 h 1615857"/>
              <a:gd name="connsiteX1" fmla="*/ 448130 w 1471006"/>
              <a:gd name="connsiteY1" fmla="*/ 1615857 h 1615857"/>
              <a:gd name="connsiteX2" fmla="*/ 287835 w 1471006"/>
              <a:gd name="connsiteY2" fmla="*/ 1503612 h 1615857"/>
              <a:gd name="connsiteX0" fmla="*/ 1471006 w 1471006"/>
              <a:gd name="connsiteY0" fmla="*/ 816054 h 1615857"/>
              <a:gd name="connsiteX1" fmla="*/ 721972 w 1471006"/>
              <a:gd name="connsiteY1" fmla="*/ 9620 h 1615857"/>
              <a:gd name="connsiteX2" fmla="*/ 0 w 1471006"/>
              <a:gd name="connsiteY2" fmla="*/ 805143 h 1615857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71006"/>
              <a:gd name="connsiteY0" fmla="*/ 1495045 h 1607290"/>
              <a:gd name="connsiteX1" fmla="*/ 448130 w 1471006"/>
              <a:gd name="connsiteY1" fmla="*/ 1607290 h 1607290"/>
              <a:gd name="connsiteX2" fmla="*/ 287835 w 1471006"/>
              <a:gd name="connsiteY2" fmla="*/ 1495045 h 1607290"/>
              <a:gd name="connsiteX0" fmla="*/ 1471006 w 1471006"/>
              <a:gd name="connsiteY0" fmla="*/ 807487 h 1607290"/>
              <a:gd name="connsiteX1" fmla="*/ 721972 w 1471006"/>
              <a:gd name="connsiteY1" fmla="*/ 1053 h 1607290"/>
              <a:gd name="connsiteX2" fmla="*/ 0 w 1471006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287835 w 1480592"/>
              <a:gd name="connsiteY0" fmla="*/ 1495045 h 1607290"/>
              <a:gd name="connsiteX1" fmla="*/ 448130 w 1480592"/>
              <a:gd name="connsiteY1" fmla="*/ 1607290 h 1607290"/>
              <a:gd name="connsiteX2" fmla="*/ 287835 w 1480592"/>
              <a:gd name="connsiteY2" fmla="*/ 1495045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353084 w 1480592"/>
              <a:gd name="connsiteY0" fmla="*/ 256781 h 1607290"/>
              <a:gd name="connsiteX1" fmla="*/ 448130 w 1480592"/>
              <a:gd name="connsiteY1" fmla="*/ 1607290 h 1607290"/>
              <a:gd name="connsiteX2" fmla="*/ 353084 w 1480592"/>
              <a:gd name="connsiteY2" fmla="*/ 256781 h 1607290"/>
              <a:gd name="connsiteX0" fmla="*/ 1480592 w 1480592"/>
              <a:gd name="connsiteY0" fmla="*/ 810244 h 1607290"/>
              <a:gd name="connsiteX1" fmla="*/ 721972 w 1480592"/>
              <a:gd name="connsiteY1" fmla="*/ 1053 h 1607290"/>
              <a:gd name="connsiteX2" fmla="*/ 0 w 1480592"/>
              <a:gd name="connsiteY2" fmla="*/ 796576 h 1607290"/>
              <a:gd name="connsiteX0" fmla="*/ 353084 w 1480592"/>
              <a:gd name="connsiteY0" fmla="*/ 256781 h 810244"/>
              <a:gd name="connsiteX1" fmla="*/ 399193 w 1480592"/>
              <a:gd name="connsiteY1" fmla="*/ 304237 h 810244"/>
              <a:gd name="connsiteX2" fmla="*/ 353084 w 1480592"/>
              <a:gd name="connsiteY2" fmla="*/ 256781 h 810244"/>
              <a:gd name="connsiteX0" fmla="*/ 1480592 w 1480592"/>
              <a:gd name="connsiteY0" fmla="*/ 810244 h 810244"/>
              <a:gd name="connsiteX1" fmla="*/ 721972 w 1480592"/>
              <a:gd name="connsiteY1" fmla="*/ 1053 h 810244"/>
              <a:gd name="connsiteX2" fmla="*/ 0 w 1480592"/>
              <a:gd name="connsiteY2" fmla="*/ 796576 h 810244"/>
              <a:gd name="connsiteX0" fmla="*/ 0 w 1127508"/>
              <a:gd name="connsiteY0" fmla="*/ 256781 h 810244"/>
              <a:gd name="connsiteX1" fmla="*/ 46109 w 1127508"/>
              <a:gd name="connsiteY1" fmla="*/ 304237 h 810244"/>
              <a:gd name="connsiteX2" fmla="*/ 0 w 1127508"/>
              <a:gd name="connsiteY2" fmla="*/ 256781 h 810244"/>
              <a:gd name="connsiteX0" fmla="*/ 1127508 w 1127508"/>
              <a:gd name="connsiteY0" fmla="*/ 810244 h 810244"/>
              <a:gd name="connsiteX1" fmla="*/ 368888 w 1127508"/>
              <a:gd name="connsiteY1" fmla="*/ 1053 h 810244"/>
              <a:gd name="connsiteX0" fmla="*/ 329071 w 1081399"/>
              <a:gd name="connsiteY0" fmla="*/ 0 h 821909"/>
              <a:gd name="connsiteX1" fmla="*/ 0 w 1081399"/>
              <a:gd name="connsiteY1" fmla="*/ 315902 h 821909"/>
              <a:gd name="connsiteX2" fmla="*/ 329071 w 1081399"/>
              <a:gd name="connsiteY2" fmla="*/ 0 h 821909"/>
              <a:gd name="connsiteX0" fmla="*/ 1081399 w 1081399"/>
              <a:gd name="connsiteY0" fmla="*/ 821909 h 821909"/>
              <a:gd name="connsiteX1" fmla="*/ 322779 w 1081399"/>
              <a:gd name="connsiteY1" fmla="*/ 12718 h 821909"/>
              <a:gd name="connsiteX0" fmla="*/ 6292 w 758620"/>
              <a:gd name="connsiteY0" fmla="*/ 5668 h 827577"/>
              <a:gd name="connsiteX1" fmla="*/ 3464 w 758620"/>
              <a:gd name="connsiteY1" fmla="*/ 0 h 827577"/>
              <a:gd name="connsiteX2" fmla="*/ 6292 w 758620"/>
              <a:gd name="connsiteY2" fmla="*/ 5668 h 827577"/>
              <a:gd name="connsiteX0" fmla="*/ 758620 w 758620"/>
              <a:gd name="connsiteY0" fmla="*/ 827577 h 827577"/>
              <a:gd name="connsiteX1" fmla="*/ 0 w 758620"/>
              <a:gd name="connsiteY1" fmla="*/ 18386 h 827577"/>
              <a:gd name="connsiteX0" fmla="*/ 609842 w 1362170"/>
              <a:gd name="connsiteY0" fmla="*/ 5668 h 827577"/>
              <a:gd name="connsiteX1" fmla="*/ 607014 w 1362170"/>
              <a:gd name="connsiteY1" fmla="*/ 0 h 827577"/>
              <a:gd name="connsiteX2" fmla="*/ 609842 w 1362170"/>
              <a:gd name="connsiteY2" fmla="*/ 5668 h 827577"/>
              <a:gd name="connsiteX0" fmla="*/ 1362170 w 1362170"/>
              <a:gd name="connsiteY0" fmla="*/ 827577 h 827577"/>
              <a:gd name="connsiteX1" fmla="*/ 0 w 1362170"/>
              <a:gd name="connsiteY1" fmla="*/ 26430 h 827577"/>
              <a:gd name="connsiteX0" fmla="*/ 6292 w 1362170"/>
              <a:gd name="connsiteY0" fmla="*/ 35308 h 827577"/>
              <a:gd name="connsiteX1" fmla="*/ 607014 w 1362170"/>
              <a:gd name="connsiteY1" fmla="*/ 0 h 827577"/>
              <a:gd name="connsiteX2" fmla="*/ 6292 w 1362170"/>
              <a:gd name="connsiteY2" fmla="*/ 35308 h 827577"/>
              <a:gd name="connsiteX0" fmla="*/ 1362170 w 1362170"/>
              <a:gd name="connsiteY0" fmla="*/ 827577 h 827577"/>
              <a:gd name="connsiteX1" fmla="*/ 0 w 1362170"/>
              <a:gd name="connsiteY1" fmla="*/ 26430 h 827577"/>
              <a:gd name="connsiteX0" fmla="*/ 6292 w 1362170"/>
              <a:gd name="connsiteY0" fmla="*/ 9931 h 802200"/>
              <a:gd name="connsiteX1" fmla="*/ 3465 w 1362170"/>
              <a:gd name="connsiteY1" fmla="*/ 4263 h 802200"/>
              <a:gd name="connsiteX2" fmla="*/ 6292 w 1362170"/>
              <a:gd name="connsiteY2" fmla="*/ 9931 h 802200"/>
              <a:gd name="connsiteX0" fmla="*/ 1362170 w 1362170"/>
              <a:gd name="connsiteY0" fmla="*/ 802200 h 802200"/>
              <a:gd name="connsiteX1" fmla="*/ 0 w 1362170"/>
              <a:gd name="connsiteY1" fmla="*/ 1053 h 802200"/>
              <a:gd name="connsiteX0" fmla="*/ 6292 w 1362170"/>
              <a:gd name="connsiteY0" fmla="*/ 9931 h 802200"/>
              <a:gd name="connsiteX1" fmla="*/ 3465 w 1362170"/>
              <a:gd name="connsiteY1" fmla="*/ 4263 h 802200"/>
              <a:gd name="connsiteX2" fmla="*/ 6292 w 1362170"/>
              <a:gd name="connsiteY2" fmla="*/ 9931 h 802200"/>
              <a:gd name="connsiteX0" fmla="*/ 1362170 w 1362170"/>
              <a:gd name="connsiteY0" fmla="*/ 802200 h 802200"/>
              <a:gd name="connsiteX1" fmla="*/ 0 w 1362170"/>
              <a:gd name="connsiteY1" fmla="*/ 1053 h 802200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9931 h 783152"/>
              <a:gd name="connsiteX1" fmla="*/ 3465 w 1362170"/>
              <a:gd name="connsiteY1" fmla="*/ 4263 h 783152"/>
              <a:gd name="connsiteX2" fmla="*/ 6292 w 1362170"/>
              <a:gd name="connsiteY2" fmla="*/ 9931 h 783152"/>
              <a:gd name="connsiteX0" fmla="*/ 1362170 w 1362170"/>
              <a:gd name="connsiteY0" fmla="*/ 783152 h 783152"/>
              <a:gd name="connsiteX1" fmla="*/ 0 w 1362170"/>
              <a:gd name="connsiteY1" fmla="*/ 1053 h 783152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0 w 1362170"/>
              <a:gd name="connsiteY1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8878 h 782099"/>
              <a:gd name="connsiteX1" fmla="*/ 3465 w 1362170"/>
              <a:gd name="connsiteY1" fmla="*/ 3210 h 782099"/>
              <a:gd name="connsiteX2" fmla="*/ 6292 w 1362170"/>
              <a:gd name="connsiteY2" fmla="*/ 8878 h 782099"/>
              <a:gd name="connsiteX0" fmla="*/ 1362170 w 1362170"/>
              <a:gd name="connsiteY0" fmla="*/ 782099 h 782099"/>
              <a:gd name="connsiteX1" fmla="*/ 702840 w 1362170"/>
              <a:gd name="connsiteY1" fmla="*/ 402598 h 782099"/>
              <a:gd name="connsiteX2" fmla="*/ 0 w 1362170"/>
              <a:gd name="connsiteY2" fmla="*/ 0 h 782099"/>
              <a:gd name="connsiteX0" fmla="*/ 6292 w 1362170"/>
              <a:gd name="connsiteY0" fmla="*/ 51595 h 824816"/>
              <a:gd name="connsiteX1" fmla="*/ 3465 w 1362170"/>
              <a:gd name="connsiteY1" fmla="*/ 45927 h 824816"/>
              <a:gd name="connsiteX2" fmla="*/ 6292 w 1362170"/>
              <a:gd name="connsiteY2" fmla="*/ 51595 h 824816"/>
              <a:gd name="connsiteX0" fmla="*/ 1362170 w 1362170"/>
              <a:gd name="connsiteY0" fmla="*/ 824816 h 824816"/>
              <a:gd name="connsiteX1" fmla="*/ 702840 w 1362170"/>
              <a:gd name="connsiteY1" fmla="*/ 445315 h 824816"/>
              <a:gd name="connsiteX2" fmla="*/ 0 w 1362170"/>
              <a:gd name="connsiteY2" fmla="*/ 42717 h 824816"/>
              <a:gd name="connsiteX0" fmla="*/ 6292 w 1362170"/>
              <a:gd name="connsiteY0" fmla="*/ 51595 h 923959"/>
              <a:gd name="connsiteX1" fmla="*/ 3465 w 1362170"/>
              <a:gd name="connsiteY1" fmla="*/ 45927 h 923959"/>
              <a:gd name="connsiteX2" fmla="*/ 6292 w 1362170"/>
              <a:gd name="connsiteY2" fmla="*/ 51595 h 923959"/>
              <a:gd name="connsiteX0" fmla="*/ 1362170 w 1362170"/>
              <a:gd name="connsiteY0" fmla="*/ 824816 h 923959"/>
              <a:gd name="connsiteX1" fmla="*/ 702840 w 1362170"/>
              <a:gd name="connsiteY1" fmla="*/ 445315 h 923959"/>
              <a:gd name="connsiteX2" fmla="*/ 0 w 1362170"/>
              <a:gd name="connsiteY2" fmla="*/ 42717 h 923959"/>
              <a:gd name="connsiteX0" fmla="*/ 6292 w 1362170"/>
              <a:gd name="connsiteY0" fmla="*/ 51595 h 923959"/>
              <a:gd name="connsiteX1" fmla="*/ 3465 w 1362170"/>
              <a:gd name="connsiteY1" fmla="*/ 45927 h 923959"/>
              <a:gd name="connsiteX2" fmla="*/ 6292 w 1362170"/>
              <a:gd name="connsiteY2" fmla="*/ 51595 h 923959"/>
              <a:gd name="connsiteX0" fmla="*/ 1362170 w 1362170"/>
              <a:gd name="connsiteY0" fmla="*/ 129925 h 923959"/>
              <a:gd name="connsiteX1" fmla="*/ 702840 w 1362170"/>
              <a:gd name="connsiteY1" fmla="*/ 445315 h 923959"/>
              <a:gd name="connsiteX2" fmla="*/ 0 w 1362170"/>
              <a:gd name="connsiteY2" fmla="*/ 42717 h 923959"/>
              <a:gd name="connsiteX0" fmla="*/ 6292 w 1318698"/>
              <a:gd name="connsiteY0" fmla="*/ 135352 h 1007716"/>
              <a:gd name="connsiteX1" fmla="*/ 3465 w 1318698"/>
              <a:gd name="connsiteY1" fmla="*/ 129684 h 1007716"/>
              <a:gd name="connsiteX2" fmla="*/ 6292 w 1318698"/>
              <a:gd name="connsiteY2" fmla="*/ 135352 h 1007716"/>
              <a:gd name="connsiteX0" fmla="*/ 1318698 w 1318698"/>
              <a:gd name="connsiteY0" fmla="*/ 126500 h 1007716"/>
              <a:gd name="connsiteX1" fmla="*/ 702840 w 1318698"/>
              <a:gd name="connsiteY1" fmla="*/ 529072 h 1007716"/>
              <a:gd name="connsiteX2" fmla="*/ 0 w 1318698"/>
              <a:gd name="connsiteY2" fmla="*/ 126474 h 1007716"/>
              <a:gd name="connsiteX0" fmla="*/ 6292 w 1318698"/>
              <a:gd name="connsiteY0" fmla="*/ 51595 h 923959"/>
              <a:gd name="connsiteX1" fmla="*/ 3465 w 1318698"/>
              <a:gd name="connsiteY1" fmla="*/ 45927 h 923959"/>
              <a:gd name="connsiteX2" fmla="*/ 6292 w 1318698"/>
              <a:gd name="connsiteY2" fmla="*/ 51595 h 923959"/>
              <a:gd name="connsiteX0" fmla="*/ 1318698 w 1318698"/>
              <a:gd name="connsiteY0" fmla="*/ 42743 h 923959"/>
              <a:gd name="connsiteX1" fmla="*/ 702840 w 1318698"/>
              <a:gd name="connsiteY1" fmla="*/ 445315 h 923959"/>
              <a:gd name="connsiteX2" fmla="*/ 0 w 1318698"/>
              <a:gd name="connsiteY2" fmla="*/ 42717 h 923959"/>
              <a:gd name="connsiteX0" fmla="*/ 6292 w 1318698"/>
              <a:gd name="connsiteY0" fmla="*/ 49025 h 923959"/>
              <a:gd name="connsiteX1" fmla="*/ 3465 w 1318698"/>
              <a:gd name="connsiteY1" fmla="*/ 43357 h 923959"/>
              <a:gd name="connsiteX2" fmla="*/ 6292 w 1318698"/>
              <a:gd name="connsiteY2" fmla="*/ 49025 h 923959"/>
              <a:gd name="connsiteX0" fmla="*/ 1318698 w 1318698"/>
              <a:gd name="connsiteY0" fmla="*/ 40173 h 923959"/>
              <a:gd name="connsiteX1" fmla="*/ 818766 w 1318698"/>
              <a:gd name="connsiteY1" fmla="*/ 445315 h 923959"/>
              <a:gd name="connsiteX2" fmla="*/ 0 w 1318698"/>
              <a:gd name="connsiteY2" fmla="*/ 40147 h 923959"/>
              <a:gd name="connsiteX0" fmla="*/ 6292 w 1318698"/>
              <a:gd name="connsiteY0" fmla="*/ 8878 h 883812"/>
              <a:gd name="connsiteX1" fmla="*/ 3465 w 1318698"/>
              <a:gd name="connsiteY1" fmla="*/ 3210 h 883812"/>
              <a:gd name="connsiteX2" fmla="*/ 6292 w 1318698"/>
              <a:gd name="connsiteY2" fmla="*/ 8878 h 883812"/>
              <a:gd name="connsiteX0" fmla="*/ 1318698 w 1318698"/>
              <a:gd name="connsiteY0" fmla="*/ 26 h 883812"/>
              <a:gd name="connsiteX1" fmla="*/ 818766 w 1318698"/>
              <a:gd name="connsiteY1" fmla="*/ 405168 h 883812"/>
              <a:gd name="connsiteX2" fmla="*/ 0 w 1318698"/>
              <a:gd name="connsiteY2" fmla="*/ 0 h 883812"/>
              <a:gd name="connsiteX0" fmla="*/ 2827 w 1315233"/>
              <a:gd name="connsiteY0" fmla="*/ 10569 h 885503"/>
              <a:gd name="connsiteX1" fmla="*/ 0 w 1315233"/>
              <a:gd name="connsiteY1" fmla="*/ 4901 h 885503"/>
              <a:gd name="connsiteX2" fmla="*/ 2827 w 1315233"/>
              <a:gd name="connsiteY2" fmla="*/ 10569 h 885503"/>
              <a:gd name="connsiteX0" fmla="*/ 1315233 w 1315233"/>
              <a:gd name="connsiteY0" fmla="*/ 1717 h 885503"/>
              <a:gd name="connsiteX1" fmla="*/ 815301 w 1315233"/>
              <a:gd name="connsiteY1" fmla="*/ 406859 h 885503"/>
              <a:gd name="connsiteX2" fmla="*/ 97970 w 1315233"/>
              <a:gd name="connsiteY2" fmla="*/ 0 h 885503"/>
              <a:gd name="connsiteX0" fmla="*/ 2827 w 1315233"/>
              <a:gd name="connsiteY0" fmla="*/ 10569 h 885503"/>
              <a:gd name="connsiteX1" fmla="*/ 0 w 1315233"/>
              <a:gd name="connsiteY1" fmla="*/ 4901 h 885503"/>
              <a:gd name="connsiteX2" fmla="*/ 2827 w 1315233"/>
              <a:gd name="connsiteY2" fmla="*/ 10569 h 885503"/>
              <a:gd name="connsiteX0" fmla="*/ 1315233 w 1315233"/>
              <a:gd name="connsiteY0" fmla="*/ 1717 h 885503"/>
              <a:gd name="connsiteX1" fmla="*/ 815301 w 1315233"/>
              <a:gd name="connsiteY1" fmla="*/ 406859 h 885503"/>
              <a:gd name="connsiteX2" fmla="*/ 11025 w 1315233"/>
              <a:gd name="connsiteY2" fmla="*/ 0 h 885503"/>
              <a:gd name="connsiteX0" fmla="*/ 2827 w 1315233"/>
              <a:gd name="connsiteY0" fmla="*/ 30222 h 905156"/>
              <a:gd name="connsiteX1" fmla="*/ 0 w 1315233"/>
              <a:gd name="connsiteY1" fmla="*/ 24554 h 905156"/>
              <a:gd name="connsiteX2" fmla="*/ 2827 w 1315233"/>
              <a:gd name="connsiteY2" fmla="*/ 30222 h 905156"/>
              <a:gd name="connsiteX0" fmla="*/ 1315233 w 1315233"/>
              <a:gd name="connsiteY0" fmla="*/ 21370 h 905156"/>
              <a:gd name="connsiteX1" fmla="*/ 815301 w 1315233"/>
              <a:gd name="connsiteY1" fmla="*/ 426512 h 905156"/>
              <a:gd name="connsiteX2" fmla="*/ 11025 w 1315233"/>
              <a:gd name="connsiteY2" fmla="*/ 19653 h 905156"/>
              <a:gd name="connsiteX0" fmla="*/ 2827 w 1315233"/>
              <a:gd name="connsiteY0" fmla="*/ 30222 h 774382"/>
              <a:gd name="connsiteX1" fmla="*/ 0 w 1315233"/>
              <a:gd name="connsiteY1" fmla="*/ 24554 h 774382"/>
              <a:gd name="connsiteX2" fmla="*/ 2827 w 1315233"/>
              <a:gd name="connsiteY2" fmla="*/ 30222 h 774382"/>
              <a:gd name="connsiteX0" fmla="*/ 1315233 w 1315233"/>
              <a:gd name="connsiteY0" fmla="*/ 21370 h 774382"/>
              <a:gd name="connsiteX1" fmla="*/ 815301 w 1315233"/>
              <a:gd name="connsiteY1" fmla="*/ 426512 h 774382"/>
              <a:gd name="connsiteX2" fmla="*/ 11025 w 1315233"/>
              <a:gd name="connsiteY2" fmla="*/ 19653 h 774382"/>
              <a:gd name="connsiteX0" fmla="*/ 2827 w 1315233"/>
              <a:gd name="connsiteY0" fmla="*/ 30222 h 766689"/>
              <a:gd name="connsiteX1" fmla="*/ 0 w 1315233"/>
              <a:gd name="connsiteY1" fmla="*/ 24554 h 766689"/>
              <a:gd name="connsiteX2" fmla="*/ 2827 w 1315233"/>
              <a:gd name="connsiteY2" fmla="*/ 30222 h 766689"/>
              <a:gd name="connsiteX0" fmla="*/ 1315233 w 1315233"/>
              <a:gd name="connsiteY0" fmla="*/ 21370 h 766689"/>
              <a:gd name="connsiteX1" fmla="*/ 815301 w 1315233"/>
              <a:gd name="connsiteY1" fmla="*/ 426512 h 766689"/>
              <a:gd name="connsiteX2" fmla="*/ 11025 w 1315233"/>
              <a:gd name="connsiteY2" fmla="*/ 19653 h 766689"/>
              <a:gd name="connsiteX0" fmla="*/ 2827 w 1315233"/>
              <a:gd name="connsiteY0" fmla="*/ 30222 h 766689"/>
              <a:gd name="connsiteX1" fmla="*/ 0 w 1315233"/>
              <a:gd name="connsiteY1" fmla="*/ 24554 h 766689"/>
              <a:gd name="connsiteX2" fmla="*/ 2827 w 1315233"/>
              <a:gd name="connsiteY2" fmla="*/ 30222 h 766689"/>
              <a:gd name="connsiteX0" fmla="*/ 1315233 w 1315233"/>
              <a:gd name="connsiteY0" fmla="*/ 21370 h 766689"/>
              <a:gd name="connsiteX1" fmla="*/ 815301 w 1315233"/>
              <a:gd name="connsiteY1" fmla="*/ 426512 h 766689"/>
              <a:gd name="connsiteX2" fmla="*/ 11025 w 1315233"/>
              <a:gd name="connsiteY2" fmla="*/ 19653 h 766689"/>
              <a:gd name="connsiteX0" fmla="*/ 2827 w 1315233"/>
              <a:gd name="connsiteY0" fmla="*/ 30222 h 730790"/>
              <a:gd name="connsiteX1" fmla="*/ 0 w 1315233"/>
              <a:gd name="connsiteY1" fmla="*/ 24554 h 730790"/>
              <a:gd name="connsiteX2" fmla="*/ 2827 w 1315233"/>
              <a:gd name="connsiteY2" fmla="*/ 30222 h 730790"/>
              <a:gd name="connsiteX0" fmla="*/ 1315233 w 1315233"/>
              <a:gd name="connsiteY0" fmla="*/ 21370 h 730790"/>
              <a:gd name="connsiteX1" fmla="*/ 815301 w 1315233"/>
              <a:gd name="connsiteY1" fmla="*/ 426512 h 730790"/>
              <a:gd name="connsiteX2" fmla="*/ 11025 w 1315233"/>
              <a:gd name="connsiteY2" fmla="*/ 19653 h 730790"/>
              <a:gd name="connsiteX0" fmla="*/ 2827 w 1315233"/>
              <a:gd name="connsiteY0" fmla="*/ 30222 h 710276"/>
              <a:gd name="connsiteX1" fmla="*/ 0 w 1315233"/>
              <a:gd name="connsiteY1" fmla="*/ 24554 h 710276"/>
              <a:gd name="connsiteX2" fmla="*/ 2827 w 1315233"/>
              <a:gd name="connsiteY2" fmla="*/ 30222 h 710276"/>
              <a:gd name="connsiteX0" fmla="*/ 1315233 w 1315233"/>
              <a:gd name="connsiteY0" fmla="*/ 21370 h 710276"/>
              <a:gd name="connsiteX1" fmla="*/ 815301 w 1315233"/>
              <a:gd name="connsiteY1" fmla="*/ 426512 h 710276"/>
              <a:gd name="connsiteX2" fmla="*/ 11025 w 1315233"/>
              <a:gd name="connsiteY2" fmla="*/ 19653 h 710276"/>
              <a:gd name="connsiteX0" fmla="*/ 2827 w 1315233"/>
              <a:gd name="connsiteY0" fmla="*/ 14837 h 694891"/>
              <a:gd name="connsiteX1" fmla="*/ 0 w 1315233"/>
              <a:gd name="connsiteY1" fmla="*/ 9169 h 694891"/>
              <a:gd name="connsiteX2" fmla="*/ 2827 w 1315233"/>
              <a:gd name="connsiteY2" fmla="*/ 14837 h 694891"/>
              <a:gd name="connsiteX0" fmla="*/ 1315233 w 1315233"/>
              <a:gd name="connsiteY0" fmla="*/ 5985 h 694891"/>
              <a:gd name="connsiteX1" fmla="*/ 815301 w 1315233"/>
              <a:gd name="connsiteY1" fmla="*/ 411127 h 694891"/>
              <a:gd name="connsiteX2" fmla="*/ 11025 w 1315233"/>
              <a:gd name="connsiteY2" fmla="*/ 4268 h 694891"/>
              <a:gd name="connsiteX0" fmla="*/ 2827 w 1315233"/>
              <a:gd name="connsiteY0" fmla="*/ 14837 h 694891"/>
              <a:gd name="connsiteX1" fmla="*/ 0 w 1315233"/>
              <a:gd name="connsiteY1" fmla="*/ 9169 h 694891"/>
              <a:gd name="connsiteX2" fmla="*/ 2827 w 1315233"/>
              <a:gd name="connsiteY2" fmla="*/ 14837 h 694891"/>
              <a:gd name="connsiteX0" fmla="*/ 1315233 w 1315233"/>
              <a:gd name="connsiteY0" fmla="*/ 5985 h 694891"/>
              <a:gd name="connsiteX1" fmla="*/ 815301 w 1315233"/>
              <a:gd name="connsiteY1" fmla="*/ 411127 h 694891"/>
              <a:gd name="connsiteX2" fmla="*/ 11025 w 1315233"/>
              <a:gd name="connsiteY2" fmla="*/ 4268 h 694891"/>
              <a:gd name="connsiteX0" fmla="*/ 2827 w 1315233"/>
              <a:gd name="connsiteY0" fmla="*/ 14837 h 679506"/>
              <a:gd name="connsiteX1" fmla="*/ 0 w 1315233"/>
              <a:gd name="connsiteY1" fmla="*/ 9169 h 679506"/>
              <a:gd name="connsiteX2" fmla="*/ 2827 w 1315233"/>
              <a:gd name="connsiteY2" fmla="*/ 14837 h 679506"/>
              <a:gd name="connsiteX0" fmla="*/ 1315233 w 1315233"/>
              <a:gd name="connsiteY0" fmla="*/ 5985 h 679506"/>
              <a:gd name="connsiteX1" fmla="*/ 815301 w 1315233"/>
              <a:gd name="connsiteY1" fmla="*/ 411127 h 679506"/>
              <a:gd name="connsiteX2" fmla="*/ 11025 w 1315233"/>
              <a:gd name="connsiteY2" fmla="*/ 4268 h 679506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8391"/>
              <a:gd name="connsiteX1" fmla="*/ 0 w 1315233"/>
              <a:gd name="connsiteY1" fmla="*/ 9169 h 668391"/>
              <a:gd name="connsiteX2" fmla="*/ 2827 w 1315233"/>
              <a:gd name="connsiteY2" fmla="*/ 14837 h 668391"/>
              <a:gd name="connsiteX0" fmla="*/ 1315233 w 1315233"/>
              <a:gd name="connsiteY0" fmla="*/ 5985 h 668391"/>
              <a:gd name="connsiteX1" fmla="*/ 815301 w 1315233"/>
              <a:gd name="connsiteY1" fmla="*/ 400012 h 668391"/>
              <a:gd name="connsiteX2" fmla="*/ 11025 w 1315233"/>
              <a:gd name="connsiteY2" fmla="*/ 4268 h 668391"/>
              <a:gd name="connsiteX0" fmla="*/ 2827 w 1315233"/>
              <a:gd name="connsiteY0" fmla="*/ 14837 h 660698"/>
              <a:gd name="connsiteX1" fmla="*/ 0 w 1315233"/>
              <a:gd name="connsiteY1" fmla="*/ 9169 h 660698"/>
              <a:gd name="connsiteX2" fmla="*/ 2827 w 1315233"/>
              <a:gd name="connsiteY2" fmla="*/ 14837 h 660698"/>
              <a:gd name="connsiteX0" fmla="*/ 1315233 w 1315233"/>
              <a:gd name="connsiteY0" fmla="*/ 5985 h 660698"/>
              <a:gd name="connsiteX1" fmla="*/ 815301 w 1315233"/>
              <a:gd name="connsiteY1" fmla="*/ 400012 h 660698"/>
              <a:gd name="connsiteX2" fmla="*/ 11025 w 1315233"/>
              <a:gd name="connsiteY2" fmla="*/ 4268 h 660698"/>
              <a:gd name="connsiteX0" fmla="*/ 2827 w 1315233"/>
              <a:gd name="connsiteY0" fmla="*/ 14837 h 660698"/>
              <a:gd name="connsiteX1" fmla="*/ 0 w 1315233"/>
              <a:gd name="connsiteY1" fmla="*/ 9169 h 660698"/>
              <a:gd name="connsiteX2" fmla="*/ 2827 w 1315233"/>
              <a:gd name="connsiteY2" fmla="*/ 14837 h 660698"/>
              <a:gd name="connsiteX0" fmla="*/ 1315233 w 1315233"/>
              <a:gd name="connsiteY0" fmla="*/ 5985 h 660698"/>
              <a:gd name="connsiteX1" fmla="*/ 815301 w 1315233"/>
              <a:gd name="connsiteY1" fmla="*/ 400012 h 660698"/>
              <a:gd name="connsiteX2" fmla="*/ 11025 w 1315233"/>
              <a:gd name="connsiteY2" fmla="*/ 4268 h 660698"/>
              <a:gd name="connsiteX0" fmla="*/ 2827 w 1344215"/>
              <a:gd name="connsiteY0" fmla="*/ 14837 h 660698"/>
              <a:gd name="connsiteX1" fmla="*/ 0 w 1344215"/>
              <a:gd name="connsiteY1" fmla="*/ 9169 h 660698"/>
              <a:gd name="connsiteX2" fmla="*/ 2827 w 1344215"/>
              <a:gd name="connsiteY2" fmla="*/ 14837 h 660698"/>
              <a:gd name="connsiteX0" fmla="*/ 1344215 w 1344215"/>
              <a:gd name="connsiteY0" fmla="*/ 13678 h 660698"/>
              <a:gd name="connsiteX1" fmla="*/ 815301 w 1344215"/>
              <a:gd name="connsiteY1" fmla="*/ 400012 h 660698"/>
              <a:gd name="connsiteX2" fmla="*/ 11025 w 1344215"/>
              <a:gd name="connsiteY2" fmla="*/ 4268 h 660698"/>
              <a:gd name="connsiteX0" fmla="*/ 2827 w 1344215"/>
              <a:gd name="connsiteY0" fmla="*/ 14837 h 668391"/>
              <a:gd name="connsiteX1" fmla="*/ 0 w 1344215"/>
              <a:gd name="connsiteY1" fmla="*/ 9169 h 668391"/>
              <a:gd name="connsiteX2" fmla="*/ 2827 w 1344215"/>
              <a:gd name="connsiteY2" fmla="*/ 14837 h 668391"/>
              <a:gd name="connsiteX0" fmla="*/ 1344215 w 1344215"/>
              <a:gd name="connsiteY0" fmla="*/ 13678 h 668391"/>
              <a:gd name="connsiteX1" fmla="*/ 786319 w 1344215"/>
              <a:gd name="connsiteY1" fmla="*/ 407705 h 668391"/>
              <a:gd name="connsiteX2" fmla="*/ 11025 w 1344215"/>
              <a:gd name="connsiteY2" fmla="*/ 4268 h 668391"/>
              <a:gd name="connsiteX0" fmla="*/ 2827 w 1330323"/>
              <a:gd name="connsiteY0" fmla="*/ 14837 h 668391"/>
              <a:gd name="connsiteX1" fmla="*/ 0 w 1330323"/>
              <a:gd name="connsiteY1" fmla="*/ 9169 h 668391"/>
              <a:gd name="connsiteX2" fmla="*/ 2827 w 1330323"/>
              <a:gd name="connsiteY2" fmla="*/ 14837 h 668391"/>
              <a:gd name="connsiteX0" fmla="*/ 1330323 w 1330323"/>
              <a:gd name="connsiteY0" fmla="*/ 13678 h 668391"/>
              <a:gd name="connsiteX1" fmla="*/ 786319 w 1330323"/>
              <a:gd name="connsiteY1" fmla="*/ 407705 h 668391"/>
              <a:gd name="connsiteX2" fmla="*/ 11025 w 1330323"/>
              <a:gd name="connsiteY2" fmla="*/ 4268 h 668391"/>
              <a:gd name="connsiteX0" fmla="*/ 2827 w 1326322"/>
              <a:gd name="connsiteY0" fmla="*/ 14837 h 668391"/>
              <a:gd name="connsiteX1" fmla="*/ 0 w 1326322"/>
              <a:gd name="connsiteY1" fmla="*/ 9169 h 668391"/>
              <a:gd name="connsiteX2" fmla="*/ 2827 w 1326322"/>
              <a:gd name="connsiteY2" fmla="*/ 14837 h 668391"/>
              <a:gd name="connsiteX0" fmla="*/ 1326322 w 1326322"/>
              <a:gd name="connsiteY0" fmla="*/ 8057 h 668391"/>
              <a:gd name="connsiteX1" fmla="*/ 786319 w 1326322"/>
              <a:gd name="connsiteY1" fmla="*/ 407705 h 668391"/>
              <a:gd name="connsiteX2" fmla="*/ 11025 w 1326322"/>
              <a:gd name="connsiteY2" fmla="*/ 4268 h 6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26322" h="668391" stroke="0" extrusionOk="0">
                <a:moveTo>
                  <a:pt x="2827" y="14837"/>
                </a:moveTo>
                <a:lnTo>
                  <a:pt x="0" y="9169"/>
                </a:lnTo>
                <a:lnTo>
                  <a:pt x="2827" y="14837"/>
                </a:lnTo>
                <a:close/>
              </a:path>
              <a:path w="1326322" h="668391" fill="none">
                <a:moveTo>
                  <a:pt x="1326322" y="8057"/>
                </a:moveTo>
                <a:cubicBezTo>
                  <a:pt x="1090243" y="7203"/>
                  <a:pt x="897416" y="308557"/>
                  <a:pt x="786319" y="407705"/>
                </a:cubicBezTo>
                <a:cubicBezTo>
                  <a:pt x="528491" y="668391"/>
                  <a:pt x="462667" y="0"/>
                  <a:pt x="11025" y="4268"/>
                </a:cubicBezTo>
              </a:path>
            </a:pathLst>
          </a:cu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1907480" y="5725801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2976022" y="4793966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4126760" y="5725801"/>
            <a:ext cx="133265" cy="13326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BU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6181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3D Area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3450" y="836181"/>
            <a:ext cx="5800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Histogram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69883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Line Histogram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/>
              <p:cNvGraphicFramePr/>
              <p:nvPr/>
            </p:nvGraphicFramePr>
            <p:xfrm>
              <a:off x="477990" y="1334028"/>
              <a:ext cx="5304731" cy="233224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6" name="Chart 5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7990" y="1334028"/>
                <a:ext cx="5304731" cy="233224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5" name="Chart 14"/>
          <p:cNvGraphicFramePr/>
          <p:nvPr/>
        </p:nvGraphicFramePr>
        <p:xfrm>
          <a:off x="6309359" y="1334027"/>
          <a:ext cx="5523339" cy="2332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88136" y="3869883"/>
            <a:ext cx="5847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catter Plot</a:t>
            </a:r>
          </a:p>
        </p:txBody>
      </p:sp>
      <p:graphicFrame>
        <p:nvGraphicFramePr>
          <p:cNvPr id="47" name="Chart 46"/>
          <p:cNvGraphicFramePr/>
          <p:nvPr/>
        </p:nvGraphicFramePr>
        <p:xfrm>
          <a:off x="6373444" y="4394029"/>
          <a:ext cx="5610674" cy="216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082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88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3" name="Chart 42"/>
          <p:cNvGraphicFramePr/>
          <p:nvPr/>
        </p:nvGraphicFramePr>
        <p:xfrm>
          <a:off x="9400307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3" name="Chart 32"/>
          <p:cNvGraphicFramePr/>
          <p:nvPr/>
        </p:nvGraphicFramePr>
        <p:xfrm>
          <a:off x="7818769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939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OSI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 STATIC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7" y="872380"/>
            <a:ext cx="5847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Column Chart With Subcompon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59457"/>
            <a:ext cx="58678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Donut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Waterfall Chart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477990" y="1334028"/>
          <a:ext cx="5304731" cy="2332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/>
              <p:cNvGraphicFramePr/>
              <p:nvPr/>
            </p:nvGraphicFramePr>
            <p:xfrm>
              <a:off x="477990" y="4394029"/>
              <a:ext cx="5395035" cy="21623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7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7990" y="4394029"/>
                <a:ext cx="5395035" cy="2162379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1" name="Chart 20"/>
          <p:cNvGraphicFramePr/>
          <p:nvPr/>
        </p:nvGraphicFramePr>
        <p:xfrm>
          <a:off x="6237231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3" name="Straight Connector 22"/>
          <p:cNvCxnSpPr>
            <a:cxnSpLocks/>
          </p:cNvCxnSpPr>
          <p:nvPr/>
        </p:nvCxnSpPr>
        <p:spPr>
          <a:xfrm flipV="1">
            <a:off x="7844777" y="2391200"/>
            <a:ext cx="766133" cy="2006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7857601" y="6314883"/>
            <a:ext cx="7647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9395889" y="6314883"/>
            <a:ext cx="8080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9424943" y="2391200"/>
            <a:ext cx="767505" cy="15668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55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54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OSITION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 CHANGE OVER TIME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Area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839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100% Column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06852" y="825798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06852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Column Chart</a:t>
            </a:r>
          </a:p>
        </p:txBody>
      </p:sp>
      <p:graphicFrame>
        <p:nvGraphicFramePr>
          <p:cNvPr id="24" name="Chart 23"/>
          <p:cNvGraphicFramePr/>
          <p:nvPr/>
        </p:nvGraphicFramePr>
        <p:xfrm>
          <a:off x="6428266" y="1359437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/>
          <p:nvPr/>
        </p:nvGraphicFramePr>
        <p:xfrm>
          <a:off x="277849" y="1342513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hart 27"/>
          <p:cNvGraphicFramePr/>
          <p:nvPr/>
        </p:nvGraphicFramePr>
        <p:xfrm>
          <a:off x="366833" y="4355982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6213841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13841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tacked Area Chart</a:t>
            </a:r>
          </a:p>
        </p:txBody>
      </p:sp>
      <p:graphicFrame>
        <p:nvGraphicFramePr>
          <p:cNvPr id="18" name="Chart 17"/>
          <p:cNvGraphicFramePr/>
          <p:nvPr/>
        </p:nvGraphicFramePr>
        <p:xfrm>
          <a:off x="6394696" y="4372906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056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ultiple Line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ingle Line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ircular Area Chart</a:t>
            </a:r>
          </a:p>
        </p:txBody>
      </p:sp>
      <p:graphicFrame>
        <p:nvGraphicFramePr>
          <p:cNvPr id="28" name="Chart 27"/>
          <p:cNvGraphicFramePr/>
          <p:nvPr/>
        </p:nvGraphicFramePr>
        <p:xfrm>
          <a:off x="366833" y="4355535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/>
        </p:nvGraphicFramePr>
        <p:xfrm>
          <a:off x="344349" y="1370773"/>
          <a:ext cx="5572015" cy="2202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/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8799762" y="1814992"/>
            <a:ext cx="430306" cy="820270"/>
            <a:chOff x="5190565" y="1532965"/>
            <a:chExt cx="430306" cy="820270"/>
          </a:xfrm>
        </p:grpSpPr>
        <p:sp>
          <p:nvSpPr>
            <p:cNvPr id="22" name="Oval 21"/>
            <p:cNvSpPr/>
            <p:nvPr/>
          </p:nvSpPr>
          <p:spPr>
            <a:xfrm>
              <a:off x="5190565" y="1909482"/>
              <a:ext cx="430306" cy="44375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/>
            <p:cNvCxnSpPr>
              <a:stCxn id="22" idx="0"/>
            </p:cNvCxnSpPr>
            <p:nvPr/>
          </p:nvCxnSpPr>
          <p:spPr>
            <a:xfrm flipV="1">
              <a:off x="5405718" y="1532965"/>
              <a:ext cx="0" cy="37651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/>
          <p:cNvSpPr/>
          <p:nvPr/>
        </p:nvSpPr>
        <p:spPr>
          <a:xfrm>
            <a:off x="8786315" y="2226777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 w="3175"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7</a:t>
            </a:r>
            <a:endParaRPr kumimoji="0" lang="en-US" sz="1800" b="0" i="0" u="none" strike="noStrike" kern="1200" cap="none" spc="0" normalizeH="0" baseline="0" noProof="0" dirty="0">
              <a:ln w="3175"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Chart 5"/>
          <p:cNvGraphicFramePr/>
          <p:nvPr/>
        </p:nvGraphicFramePr>
        <p:xfrm>
          <a:off x="6648037" y="4333280"/>
          <a:ext cx="4927209" cy="2322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FAA9396-0661-E236-048C-E1BC004D39E4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6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able with Embed Chart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791662" y="4485598"/>
          <a:ext cx="4516767" cy="2039916"/>
        </p:xfrm>
        <a:graphic>
          <a:graphicData uri="http://schemas.openxmlformats.org/drawingml/2006/table">
            <a:tbl>
              <a:tblPr firstRow="1" bandRow="1"/>
              <a:tblGrid>
                <a:gridCol w="1505589">
                  <a:extLst>
                    <a:ext uri="{9D8B030D-6E8A-4147-A177-3AD203B41FA5}">
                      <a16:colId xmlns:a16="http://schemas.microsoft.com/office/drawing/2014/main" val="417363144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38509645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4196984809"/>
                    </a:ext>
                  </a:extLst>
                </a:gridCol>
              </a:tblGrid>
              <a:tr h="6799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191623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059109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51284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ar Chart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lumn Chart Different Width</a:t>
            </a:r>
          </a:p>
        </p:txBody>
      </p:sp>
      <p:graphicFrame>
        <p:nvGraphicFramePr>
          <p:cNvPr id="18" name="Chart 17"/>
          <p:cNvGraphicFramePr/>
          <p:nvPr/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/>
        </p:nvGraphicFramePr>
        <p:xfrm>
          <a:off x="670055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/>
          <p:nvPr/>
        </p:nvGraphicFramePr>
        <p:xfrm>
          <a:off x="3212893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/>
          <p:cNvGraphicFramePr/>
          <p:nvPr/>
        </p:nvGraphicFramePr>
        <p:xfrm>
          <a:off x="1073960" y="4485598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6"/>
          <p:cNvGraphicFramePr/>
          <p:nvPr/>
        </p:nvGraphicFramePr>
        <p:xfrm>
          <a:off x="2605263" y="5130961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/>
          <p:cNvGraphicFramePr/>
          <p:nvPr/>
        </p:nvGraphicFramePr>
        <p:xfrm>
          <a:off x="4136566" y="4447814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/>
        </p:nvGraphicFramePr>
        <p:xfrm>
          <a:off x="4079636" y="5168745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hart 30"/>
          <p:cNvGraphicFramePr/>
          <p:nvPr/>
        </p:nvGraphicFramePr>
        <p:xfrm>
          <a:off x="1077768" y="5896629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E27B02D-610B-44F7-9C23-9544446998B9}"/>
              </a:ext>
            </a:extLst>
          </p:cNvPr>
          <p:cNvGraphicFramePr>
            <a:graphicFrameLocks/>
          </p:cNvGraphicFramePr>
          <p:nvPr/>
        </p:nvGraphicFramePr>
        <p:xfrm>
          <a:off x="7295396" y="4367991"/>
          <a:ext cx="3885493" cy="219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47C3D91-FD62-B963-3833-34B35034AFF8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01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67242" y="3847553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etworks</a:t>
            </a:r>
          </a:p>
        </p:txBody>
      </p:sp>
      <p:sp>
        <p:nvSpPr>
          <p:cNvPr id="3" name="Rectangle 2"/>
          <p:cNvSpPr/>
          <p:nvPr/>
        </p:nvSpPr>
        <p:spPr>
          <a:xfrm>
            <a:off x="206852" y="765089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Flow Chart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67242" y="765089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67242" y="765089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Hierarchy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47553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Quadrants</a:t>
            </a:r>
          </a:p>
        </p:txBody>
      </p:sp>
      <p:sp>
        <p:nvSpPr>
          <p:cNvPr id="4" name="Flowchart: Process 3"/>
          <p:cNvSpPr/>
          <p:nvPr/>
        </p:nvSpPr>
        <p:spPr>
          <a:xfrm>
            <a:off x="1532624" y="1570699"/>
            <a:ext cx="495461" cy="440409"/>
          </a:xfrm>
          <a:prstGeom prst="flowChartProcess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lowchart: Decision 5"/>
          <p:cNvSpPr/>
          <p:nvPr/>
        </p:nvSpPr>
        <p:spPr>
          <a:xfrm>
            <a:off x="2733718" y="2589638"/>
            <a:ext cx="551062" cy="486872"/>
          </a:xfrm>
          <a:prstGeom prst="flowChartDecision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lowchart: Process 27"/>
          <p:cNvSpPr/>
          <p:nvPr/>
        </p:nvSpPr>
        <p:spPr>
          <a:xfrm>
            <a:off x="3987688" y="3038214"/>
            <a:ext cx="495461" cy="440409"/>
          </a:xfrm>
          <a:prstGeom prst="flowChartProcess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/>
          <p:cNvCxnSpPr>
            <a:cxnSpLocks/>
            <a:stCxn id="4" idx="3"/>
            <a:endCxn id="5" idx="2"/>
          </p:cNvCxnSpPr>
          <p:nvPr/>
        </p:nvCxnSpPr>
        <p:spPr>
          <a:xfrm flipV="1">
            <a:off x="2028085" y="1790903"/>
            <a:ext cx="738939" cy="1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  <a:stCxn id="5" idx="4"/>
            <a:endCxn id="6" idx="0"/>
          </p:cNvCxnSpPr>
          <p:nvPr/>
        </p:nvCxnSpPr>
        <p:spPr>
          <a:xfrm>
            <a:off x="3009249" y="2033128"/>
            <a:ext cx="0" cy="55651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Flowchart: Connector 4"/>
          <p:cNvSpPr/>
          <p:nvPr/>
        </p:nvSpPr>
        <p:spPr>
          <a:xfrm>
            <a:off x="2767024" y="1548678"/>
            <a:ext cx="484450" cy="484450"/>
          </a:xfrm>
          <a:prstGeom prst="flowChartConnector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Connector: Elbow 33"/>
          <p:cNvCxnSpPr>
            <a:cxnSpLocks/>
            <a:stCxn id="28" idx="1"/>
            <a:endCxn id="6" idx="2"/>
          </p:cNvCxnSpPr>
          <p:nvPr/>
        </p:nvCxnSpPr>
        <p:spPr>
          <a:xfrm rot="10800000">
            <a:off x="3009250" y="3076511"/>
            <a:ext cx="978439" cy="181909"/>
          </a:xfrm>
          <a:prstGeom prst="bentConnector2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Connector: Elbow 43"/>
          <p:cNvCxnSpPr>
            <a:cxnSpLocks/>
            <a:stCxn id="5" idx="6"/>
            <a:endCxn id="6" idx="3"/>
          </p:cNvCxnSpPr>
          <p:nvPr/>
        </p:nvCxnSpPr>
        <p:spPr>
          <a:xfrm>
            <a:off x="3251474" y="1790903"/>
            <a:ext cx="33306" cy="1042171"/>
          </a:xfrm>
          <a:prstGeom prst="bentConnector3">
            <a:avLst>
              <a:gd name="adj1" fmla="val 786363"/>
            </a:avLst>
          </a:prstGeom>
          <a:ln w="19050"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Flowchart: Connector 57"/>
          <p:cNvSpPr/>
          <p:nvPr/>
        </p:nvSpPr>
        <p:spPr>
          <a:xfrm>
            <a:off x="8956950" y="1502070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lowchart: Connector 59"/>
          <p:cNvSpPr/>
          <p:nvPr/>
        </p:nvSpPr>
        <p:spPr>
          <a:xfrm>
            <a:off x="7657615" y="1936105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Flowchart: Connector 60"/>
          <p:cNvSpPr/>
          <p:nvPr/>
        </p:nvSpPr>
        <p:spPr>
          <a:xfrm>
            <a:off x="10268601" y="1942479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lowchart: Connector 61"/>
          <p:cNvSpPr/>
          <p:nvPr/>
        </p:nvSpPr>
        <p:spPr>
          <a:xfrm>
            <a:off x="7212022" y="2388552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lowchart: Connector 62"/>
          <p:cNvSpPr/>
          <p:nvPr/>
        </p:nvSpPr>
        <p:spPr>
          <a:xfrm>
            <a:off x="8103209" y="2388552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lowchart: Connector 63"/>
          <p:cNvSpPr/>
          <p:nvPr/>
        </p:nvSpPr>
        <p:spPr>
          <a:xfrm>
            <a:off x="9821317" y="2384021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10714194" y="2384021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Connector: Elbow 65"/>
          <p:cNvCxnSpPr>
            <a:cxnSpLocks/>
            <a:stCxn id="58" idx="0"/>
            <a:endCxn id="60" idx="0"/>
          </p:cNvCxnSpPr>
          <p:nvPr/>
        </p:nvCxnSpPr>
        <p:spPr>
          <a:xfrm rot="16200000" flipH="1" flipV="1">
            <a:off x="8158759" y="1069419"/>
            <a:ext cx="434035" cy="1299335"/>
          </a:xfrm>
          <a:prstGeom prst="bentConnector3">
            <a:avLst>
              <a:gd name="adj1" fmla="val 6731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/>
          <p:cNvCxnSpPr>
            <a:cxnSpLocks/>
            <a:stCxn id="58" idx="4"/>
            <a:endCxn id="61" idx="0"/>
          </p:cNvCxnSpPr>
          <p:nvPr/>
        </p:nvCxnSpPr>
        <p:spPr>
          <a:xfrm rot="16200000" flipH="1">
            <a:off x="9529559" y="1134942"/>
            <a:ext cx="303421" cy="1311651"/>
          </a:xfrm>
          <a:prstGeom prst="bentConnector3">
            <a:avLst>
              <a:gd name="adj1" fmla="val 5127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/>
          <p:cNvCxnSpPr>
            <a:cxnSpLocks/>
            <a:stCxn id="60" idx="4"/>
            <a:endCxn id="62" idx="0"/>
          </p:cNvCxnSpPr>
          <p:nvPr/>
        </p:nvCxnSpPr>
        <p:spPr>
          <a:xfrm rot="5400000">
            <a:off x="7345584" y="2008026"/>
            <a:ext cx="315459" cy="44559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/>
          <p:cNvCxnSpPr>
            <a:cxnSpLocks/>
            <a:stCxn id="60" idx="4"/>
            <a:endCxn id="63" idx="0"/>
          </p:cNvCxnSpPr>
          <p:nvPr/>
        </p:nvCxnSpPr>
        <p:spPr>
          <a:xfrm rot="16200000" flipH="1">
            <a:off x="7791177" y="2008025"/>
            <a:ext cx="315459" cy="44559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/>
          <p:cNvCxnSpPr>
            <a:cxnSpLocks/>
            <a:stCxn id="61" idx="4"/>
            <a:endCxn id="64" idx="0"/>
          </p:cNvCxnSpPr>
          <p:nvPr/>
        </p:nvCxnSpPr>
        <p:spPr>
          <a:xfrm rot="5400000">
            <a:off x="9961176" y="2008102"/>
            <a:ext cx="304554" cy="44728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/>
          <p:cNvCxnSpPr>
            <a:cxnSpLocks/>
            <a:stCxn id="61" idx="4"/>
            <a:endCxn id="65" idx="0"/>
          </p:cNvCxnSpPr>
          <p:nvPr/>
        </p:nvCxnSpPr>
        <p:spPr>
          <a:xfrm rot="16200000" flipH="1">
            <a:off x="10407614" y="2008947"/>
            <a:ext cx="304554" cy="44559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lowchart: Connector 86"/>
          <p:cNvSpPr/>
          <p:nvPr/>
        </p:nvSpPr>
        <p:spPr>
          <a:xfrm>
            <a:off x="9377414" y="2943346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Flowchart: Connector 87"/>
          <p:cNvSpPr/>
          <p:nvPr/>
        </p:nvSpPr>
        <p:spPr>
          <a:xfrm>
            <a:off x="10293547" y="2927513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Flowchart: Connector 88"/>
          <p:cNvSpPr/>
          <p:nvPr/>
        </p:nvSpPr>
        <p:spPr>
          <a:xfrm>
            <a:off x="9912588" y="2928863"/>
            <a:ext cx="136988" cy="13698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0" name="Connector: Elbow 89"/>
          <p:cNvCxnSpPr>
            <a:cxnSpLocks/>
            <a:stCxn id="64" idx="4"/>
            <a:endCxn id="87" idx="0"/>
          </p:cNvCxnSpPr>
          <p:nvPr/>
        </p:nvCxnSpPr>
        <p:spPr>
          <a:xfrm rot="5400000">
            <a:off x="9456692" y="2510226"/>
            <a:ext cx="422337" cy="44390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/>
          <p:cNvCxnSpPr>
            <a:cxnSpLocks/>
            <a:stCxn id="64" idx="4"/>
            <a:endCxn id="89" idx="0"/>
          </p:cNvCxnSpPr>
          <p:nvPr/>
        </p:nvCxnSpPr>
        <p:spPr>
          <a:xfrm rot="16200000" flipH="1">
            <a:off x="9731519" y="2679300"/>
            <a:ext cx="407854" cy="91271"/>
          </a:xfrm>
          <a:prstGeom prst="bentConnector3">
            <a:avLst>
              <a:gd name="adj1" fmla="val 5165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/>
          <p:cNvCxnSpPr>
            <a:cxnSpLocks/>
            <a:stCxn id="64" idx="4"/>
            <a:endCxn id="88" idx="0"/>
          </p:cNvCxnSpPr>
          <p:nvPr/>
        </p:nvCxnSpPr>
        <p:spPr>
          <a:xfrm rot="16200000" flipH="1">
            <a:off x="9922674" y="2488146"/>
            <a:ext cx="406504" cy="472230"/>
          </a:xfrm>
          <a:prstGeom prst="bentConnector3">
            <a:avLst>
              <a:gd name="adj1" fmla="val 5166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Flowchart: Connector 105"/>
          <p:cNvSpPr/>
          <p:nvPr/>
        </p:nvSpPr>
        <p:spPr>
          <a:xfrm>
            <a:off x="1891097" y="4876262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lowchart: Connector 106"/>
          <p:cNvSpPr/>
          <p:nvPr/>
        </p:nvSpPr>
        <p:spPr>
          <a:xfrm>
            <a:off x="3498469" y="4701045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Flowchart: Connector 107"/>
          <p:cNvSpPr/>
          <p:nvPr/>
        </p:nvSpPr>
        <p:spPr>
          <a:xfrm>
            <a:off x="4235418" y="5402156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Flowchart: Connector 108"/>
          <p:cNvSpPr/>
          <p:nvPr/>
        </p:nvSpPr>
        <p:spPr>
          <a:xfrm>
            <a:off x="3061862" y="5333662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Flowchart: Connector 109"/>
          <p:cNvSpPr/>
          <p:nvPr/>
        </p:nvSpPr>
        <p:spPr>
          <a:xfrm>
            <a:off x="3743508" y="6252155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Flowchart: Connector 110"/>
          <p:cNvSpPr/>
          <p:nvPr/>
        </p:nvSpPr>
        <p:spPr>
          <a:xfrm>
            <a:off x="2596730" y="6006798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Flowchart: Connector 111"/>
          <p:cNvSpPr/>
          <p:nvPr/>
        </p:nvSpPr>
        <p:spPr>
          <a:xfrm>
            <a:off x="1779218" y="5608211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Flowchart: Connector 112"/>
          <p:cNvSpPr/>
          <p:nvPr/>
        </p:nvSpPr>
        <p:spPr>
          <a:xfrm>
            <a:off x="1395636" y="4518757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Flowchart: Connector 113"/>
          <p:cNvSpPr/>
          <p:nvPr/>
        </p:nvSpPr>
        <p:spPr>
          <a:xfrm>
            <a:off x="1258648" y="5113170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Flowchart: Connector 115"/>
          <p:cNvSpPr/>
          <p:nvPr/>
        </p:nvSpPr>
        <p:spPr>
          <a:xfrm>
            <a:off x="4812454" y="5113170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Flowchart: Connector 116"/>
          <p:cNvSpPr/>
          <p:nvPr/>
        </p:nvSpPr>
        <p:spPr>
          <a:xfrm>
            <a:off x="4743960" y="5745199"/>
            <a:ext cx="136988" cy="136988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9" name="Straight Connector 118"/>
          <p:cNvCxnSpPr>
            <a:stCxn id="113" idx="6"/>
            <a:endCxn id="106" idx="1"/>
          </p:cNvCxnSpPr>
          <p:nvPr/>
        </p:nvCxnSpPr>
        <p:spPr>
          <a:xfrm>
            <a:off x="1532624" y="4587251"/>
            <a:ext cx="378534" cy="3090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>
            <a:cxnSpLocks/>
            <a:stCxn id="114" idx="6"/>
            <a:endCxn id="106" idx="3"/>
          </p:cNvCxnSpPr>
          <p:nvPr/>
        </p:nvCxnSpPr>
        <p:spPr>
          <a:xfrm flipV="1">
            <a:off x="1395636" y="4993189"/>
            <a:ext cx="515522" cy="188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cxnSpLocks/>
            <a:stCxn id="106" idx="6"/>
            <a:endCxn id="109" idx="2"/>
          </p:cNvCxnSpPr>
          <p:nvPr/>
        </p:nvCxnSpPr>
        <p:spPr>
          <a:xfrm>
            <a:off x="2028085" y="4944756"/>
            <a:ext cx="1033777" cy="45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>
            <a:cxnSpLocks/>
            <a:stCxn id="112" idx="7"/>
            <a:endCxn id="109" idx="2"/>
          </p:cNvCxnSpPr>
          <p:nvPr/>
        </p:nvCxnSpPr>
        <p:spPr>
          <a:xfrm flipV="1">
            <a:off x="1896145" y="5402156"/>
            <a:ext cx="1165717" cy="226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cxnSpLocks/>
            <a:stCxn id="107" idx="3"/>
            <a:endCxn id="109" idx="0"/>
          </p:cNvCxnSpPr>
          <p:nvPr/>
        </p:nvCxnSpPr>
        <p:spPr>
          <a:xfrm flipH="1">
            <a:off x="3130356" y="4817972"/>
            <a:ext cx="388174" cy="515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  <a:stCxn id="108" idx="7"/>
            <a:endCxn id="116" idx="3"/>
          </p:cNvCxnSpPr>
          <p:nvPr/>
        </p:nvCxnSpPr>
        <p:spPr>
          <a:xfrm flipV="1">
            <a:off x="4352345" y="5230097"/>
            <a:ext cx="480170" cy="1921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>
            <a:cxnSpLocks/>
            <a:stCxn id="108" idx="5"/>
            <a:endCxn id="117" idx="7"/>
          </p:cNvCxnSpPr>
          <p:nvPr/>
        </p:nvCxnSpPr>
        <p:spPr>
          <a:xfrm>
            <a:off x="4352345" y="5519083"/>
            <a:ext cx="508542" cy="2461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cxnSpLocks/>
            <a:stCxn id="109" idx="6"/>
            <a:endCxn id="108" idx="2"/>
          </p:cNvCxnSpPr>
          <p:nvPr/>
        </p:nvCxnSpPr>
        <p:spPr>
          <a:xfrm>
            <a:off x="3198850" y="5402156"/>
            <a:ext cx="1036568" cy="684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>
            <a:cxnSpLocks/>
            <a:stCxn id="109" idx="5"/>
            <a:endCxn id="110" idx="1"/>
          </p:cNvCxnSpPr>
          <p:nvPr/>
        </p:nvCxnSpPr>
        <p:spPr>
          <a:xfrm>
            <a:off x="3178789" y="5450589"/>
            <a:ext cx="584780" cy="8216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>
            <a:cxnSpLocks/>
            <a:stCxn id="111" idx="0"/>
            <a:endCxn id="109" idx="3"/>
          </p:cNvCxnSpPr>
          <p:nvPr/>
        </p:nvCxnSpPr>
        <p:spPr>
          <a:xfrm flipV="1">
            <a:off x="2665224" y="5450589"/>
            <a:ext cx="416699" cy="5562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/>
          <p:cNvSpPr/>
          <p:nvPr/>
        </p:nvSpPr>
        <p:spPr>
          <a:xfrm>
            <a:off x="8165773" y="4532286"/>
            <a:ext cx="903460" cy="9034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9170625" y="4532286"/>
            <a:ext cx="903460" cy="903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8165773" y="5525209"/>
            <a:ext cx="903460" cy="903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9170625" y="5525209"/>
            <a:ext cx="903460" cy="9034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EFFB25-5F80-03AD-3689-A4B5D9230993}"/>
              </a:ext>
            </a:extLst>
          </p:cNvPr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07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0FCD6-27E1-F3B3-1285-D8E7D6D5AB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Bubble Chart Demo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16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CA8348-5EDE-9ECF-957E-58C542A3DFB7}"/>
              </a:ext>
            </a:extLst>
          </p:cNvPr>
          <p:cNvGrpSpPr/>
          <p:nvPr/>
        </p:nvGrpSpPr>
        <p:grpSpPr>
          <a:xfrm>
            <a:off x="5455920" y="2580702"/>
            <a:ext cx="1280160" cy="1696596"/>
            <a:chOff x="1982347" y="3521599"/>
            <a:chExt cx="1280160" cy="1696596"/>
          </a:xfrm>
        </p:grpSpPr>
        <p:sp>
          <p:nvSpPr>
            <p:cNvPr id="3" name="Action Button: Blank 2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4CE63B3D-5C9E-4C1E-94DB-061D2E41CA1D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1E1DE-8FC6-1AF0-7BF4-372E12FBBE7E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Open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23728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werPoint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17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Anima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Screen Captur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489EE8D-AC7D-73F1-DE7C-4961CAABC5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297" y="2928398"/>
            <a:ext cx="3138261" cy="3194614"/>
          </a:xfrm>
        </p:spPr>
        <p:txBody>
          <a:bodyPr>
            <a:normAutofit/>
          </a:bodyPr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Designer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Zoom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Cameo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ChatGPT to PPT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BDC62DEC-60D3-74E5-6EF5-65CD336871F0}"/>
              </a:ext>
            </a:extLst>
          </p:cNvPr>
          <p:cNvSpPr txBox="1">
            <a:spLocks/>
          </p:cNvSpPr>
          <p:nvPr/>
        </p:nvSpPr>
        <p:spPr>
          <a:xfrm>
            <a:off x="4576544" y="2928397"/>
            <a:ext cx="3138261" cy="31946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Transi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Morph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Pan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Anima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Grow/Shrink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119E578-AF62-FC2F-9FD4-20F4EEB362E7}"/>
              </a:ext>
            </a:extLst>
          </p:cNvPr>
          <p:cNvSpPr txBox="1">
            <a:spLocks/>
          </p:cNvSpPr>
          <p:nvPr/>
        </p:nvSpPr>
        <p:spPr>
          <a:xfrm>
            <a:off x="8099792" y="2928397"/>
            <a:ext cx="3138261" cy="31946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From Insert Tab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From Record Tab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Using </a:t>
            </a:r>
            <a:r>
              <a:rPr lang="en-US" sz="2000" dirty="0" err="1">
                <a:latin typeface="Poppins" panose="00000500000000000000" pitchFamily="2" charset="0"/>
                <a:cs typeface="Poppins" panose="00000500000000000000" pitchFamily="2" charset="0"/>
                <a:hlinkClick r:id="rId2" action="ppaction://program"/>
              </a:rPr>
              <a:t>HandBrake</a:t>
            </a:r>
            <a:endParaRPr lang="en-US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176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  <p:bldP spid="2" grpId="0"/>
      <p:bldP spid="4" grpId="0"/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t is a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&amp;A Session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18</a:t>
            </a:fld>
            <a:endParaRPr lang="en-US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17FD15-8070-60ED-A9EF-57FC3C2131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 you have any questions, please?</a:t>
            </a:r>
          </a:p>
          <a:p>
            <a:pPr marL="457200" indent="-457200">
              <a:buFont typeface="Wingdings 3" panose="05040102010807070707" pitchFamily="18" charset="2"/>
              <a:buChar char="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 need your feedback!</a:t>
            </a:r>
          </a:p>
        </p:txBody>
      </p:sp>
    </p:spTree>
    <p:extLst>
      <p:ext uri="{BB962C8B-B14F-4D97-AF65-F5344CB8AC3E}">
        <p14:creationId xmlns:p14="http://schemas.microsoft.com/office/powerpoint/2010/main" val="42479797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DC5CC-3841-44A7-9BD9-E4F5665E6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0643"/>
            <a:ext cx="10515600" cy="3733015"/>
          </a:xfrm>
        </p:spPr>
        <p:txBody>
          <a:bodyPr>
            <a:normAutofit/>
          </a:bodyPr>
          <a:lstStyle/>
          <a:p>
            <a:pPr algn="ctr"/>
            <a:r>
              <a:rPr lang="en-US" sz="12400" b="1" dirty="0">
                <a:latin typeface="Poppins" panose="00000500000000000000" pitchFamily="2" charset="0"/>
                <a:ea typeface="Segoe UI Black" panose="020B0A02040204020203" pitchFamily="34" charset="0"/>
                <a:cs typeface="Poppins" panose="00000500000000000000" pitchFamily="2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CE10BA-F7B4-4E2E-B19B-C7D7C06333B2}"/>
              </a:ext>
            </a:extLst>
          </p:cNvPr>
          <p:cNvSpPr txBox="1"/>
          <p:nvPr/>
        </p:nvSpPr>
        <p:spPr>
          <a:xfrm>
            <a:off x="3676908" y="3987293"/>
            <a:ext cx="48381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latin typeface="Poppins" panose="00000500000000000000" pitchFamily="2" charset="0"/>
                <a:cs typeface="Poppins" panose="00000500000000000000" pitchFamily="2" charset="0"/>
              </a:rPr>
              <a:t>For Your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C9DC-D6F5-ED6F-36A4-7AB03CF55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707" y="6332903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19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FD6A530-7E0F-F888-180E-5ADA2FA0149B}"/>
              </a:ext>
            </a:extLst>
          </p:cNvPr>
          <p:cNvCxnSpPr>
            <a:cxnSpLocks/>
          </p:cNvCxnSpPr>
          <p:nvPr/>
        </p:nvCxnSpPr>
        <p:spPr>
          <a:xfrm>
            <a:off x="609600" y="3877829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4247607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F311BC1-7E39-A8E8-4141-C0F064D67224}"/>
              </a:ext>
            </a:extLst>
          </p:cNvPr>
          <p:cNvGrpSpPr/>
          <p:nvPr/>
        </p:nvGrpSpPr>
        <p:grpSpPr>
          <a:xfrm>
            <a:off x="628476" y="1523725"/>
            <a:ext cx="10953924" cy="461665"/>
            <a:chOff x="838201" y="2493612"/>
            <a:chExt cx="10953924" cy="46166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5D085DE-39BB-3321-AC40-17C3F181A3C4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Word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A97D92E-C9A0-54A3-AFF5-350CCDFF57E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lesto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18307-0A35-612C-6DE0-36EFDFA2B08A}"/>
              </a:ext>
            </a:extLst>
          </p:cNvPr>
          <p:cNvSpPr txBox="1"/>
          <p:nvPr/>
        </p:nvSpPr>
        <p:spPr>
          <a:xfrm>
            <a:off x="1258342" y="1985390"/>
            <a:ext cx="10305181" cy="79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Mail Merg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152477-1E9E-96F7-7EBD-60C55693546A}"/>
              </a:ext>
            </a:extLst>
          </p:cNvPr>
          <p:cNvGrpSpPr/>
          <p:nvPr/>
        </p:nvGrpSpPr>
        <p:grpSpPr>
          <a:xfrm>
            <a:off x="605503" y="3040694"/>
            <a:ext cx="10953924" cy="461665"/>
            <a:chOff x="838201" y="2493612"/>
            <a:chExt cx="10953924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342786B-E2BF-AE36-627A-45B66BC282D3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Excel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100C408-6E68-2EA9-8AA1-2202BD4029D5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7D584B2-2B17-3D86-C230-C76DA2B56AB2}"/>
              </a:ext>
            </a:extLst>
          </p:cNvPr>
          <p:cNvSpPr txBox="1"/>
          <p:nvPr/>
        </p:nvSpPr>
        <p:spPr>
          <a:xfrm>
            <a:off x="1235369" y="3502359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Data Analysis and PivotTable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Char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824A72-D10F-9AA2-FE2C-F99F7BF59A73}"/>
              </a:ext>
            </a:extLst>
          </p:cNvPr>
          <p:cNvGrpSpPr/>
          <p:nvPr/>
        </p:nvGrpSpPr>
        <p:grpSpPr>
          <a:xfrm>
            <a:off x="487522" y="4872610"/>
            <a:ext cx="10953924" cy="461665"/>
            <a:chOff x="838201" y="2493612"/>
            <a:chExt cx="10953924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AE5DC52-A59F-3F6A-C9E1-DE6D4DCCA62A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PowerPoint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5F86D62-B060-C4E4-AD1A-E41E229F966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EF9133A-6BAC-01F5-A222-B272696F2767}"/>
              </a:ext>
            </a:extLst>
          </p:cNvPr>
          <p:cNvSpPr txBox="1"/>
          <p:nvPr/>
        </p:nvSpPr>
        <p:spPr>
          <a:xfrm>
            <a:off x="1117388" y="5334275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Animation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Screen Capture</a:t>
            </a:r>
          </a:p>
        </p:txBody>
      </p:sp>
      <p:pic>
        <p:nvPicPr>
          <p:cNvPr id="25" name="Picture 2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2F5CC71-EDA2-A050-805A-E5A58E1400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6003" y="1981617"/>
            <a:ext cx="2819400" cy="2857500"/>
          </a:xfrm>
          <a:prstGeom prst="rect">
            <a:avLst/>
          </a:prstGeom>
        </p:spPr>
      </p:pic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344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F311BC1-7E39-A8E8-4141-C0F064D67224}"/>
              </a:ext>
            </a:extLst>
          </p:cNvPr>
          <p:cNvGrpSpPr/>
          <p:nvPr/>
        </p:nvGrpSpPr>
        <p:grpSpPr>
          <a:xfrm>
            <a:off x="628476" y="1523725"/>
            <a:ext cx="10953924" cy="461665"/>
            <a:chOff x="838201" y="2493612"/>
            <a:chExt cx="10953924" cy="46166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5D085DE-39BB-3321-AC40-17C3F181A3C4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Word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A97D92E-C9A0-54A3-AFF5-350CCDFF57E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lesto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18307-0A35-612C-6DE0-36EFDFA2B08A}"/>
              </a:ext>
            </a:extLst>
          </p:cNvPr>
          <p:cNvSpPr txBox="1"/>
          <p:nvPr/>
        </p:nvSpPr>
        <p:spPr>
          <a:xfrm>
            <a:off x="1258342" y="1985390"/>
            <a:ext cx="10305181" cy="79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Mail Merg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152477-1E9E-96F7-7EBD-60C55693546A}"/>
              </a:ext>
            </a:extLst>
          </p:cNvPr>
          <p:cNvGrpSpPr/>
          <p:nvPr/>
        </p:nvGrpSpPr>
        <p:grpSpPr>
          <a:xfrm>
            <a:off x="605503" y="3040694"/>
            <a:ext cx="10953924" cy="461665"/>
            <a:chOff x="838201" y="2493612"/>
            <a:chExt cx="10953924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342786B-E2BF-AE36-627A-45B66BC282D3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Microsoft Excel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100C408-6E68-2EA9-8AA1-2202BD4029D5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7D584B2-2B17-3D86-C230-C76DA2B56AB2}"/>
              </a:ext>
            </a:extLst>
          </p:cNvPr>
          <p:cNvSpPr txBox="1"/>
          <p:nvPr/>
        </p:nvSpPr>
        <p:spPr>
          <a:xfrm>
            <a:off x="1235369" y="3502359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Data Analysis and PivotTable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Char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824A72-D10F-9AA2-FE2C-F99F7BF59A73}"/>
              </a:ext>
            </a:extLst>
          </p:cNvPr>
          <p:cNvGrpSpPr/>
          <p:nvPr/>
        </p:nvGrpSpPr>
        <p:grpSpPr>
          <a:xfrm>
            <a:off x="487522" y="4872610"/>
            <a:ext cx="10953924" cy="461665"/>
            <a:chOff x="838201" y="2493612"/>
            <a:chExt cx="10953924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AE5DC52-A59F-3F6A-C9E1-DE6D4DCCA62A}"/>
                </a:ext>
              </a:extLst>
            </p:cNvPr>
            <p:cNvSpPr txBox="1"/>
            <p:nvPr/>
          </p:nvSpPr>
          <p:spPr>
            <a:xfrm>
              <a:off x="1468068" y="2570557"/>
              <a:ext cx="103240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03030"/>
                  </a:solidFill>
                  <a:latin typeface="Poppins" panose="00000500000000000000" pitchFamily="2" charset="0"/>
                </a:rPr>
                <a:t>PowerPoint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5F86D62-B060-C4E4-AD1A-E41E229F9668}"/>
                </a:ext>
              </a:extLst>
            </p:cNvPr>
            <p:cNvSpPr/>
            <p:nvPr/>
          </p:nvSpPr>
          <p:spPr>
            <a:xfrm>
              <a:off x="838201" y="2493612"/>
              <a:ext cx="461665" cy="46166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5400">
              <a:noFill/>
            </a:ln>
            <a:effectLst>
              <a:outerShdw blurRad="381000" sx="110000" sy="110000" algn="ctr" rotWithShape="0">
                <a:srgbClr val="7268FB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EF9133A-6BAC-01F5-A222-B272696F2767}"/>
              </a:ext>
            </a:extLst>
          </p:cNvPr>
          <p:cNvSpPr txBox="1"/>
          <p:nvPr/>
        </p:nvSpPr>
        <p:spPr>
          <a:xfrm>
            <a:off x="1117388" y="5334275"/>
            <a:ext cx="10305181" cy="1165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General Tip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Animations</a:t>
            </a:r>
          </a:p>
          <a:p>
            <a:pPr marL="285750" indent="-285750">
              <a:lnSpc>
                <a:spcPct val="150000"/>
              </a:lnSpc>
              <a:buFont typeface="Wingdings 3" panose="05040102010807070707" pitchFamily="18" charset="2"/>
              <a:buChar char="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</a:rPr>
              <a:t>Screen Capture</a:t>
            </a:r>
          </a:p>
        </p:txBody>
      </p:sp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4292108-9E9C-B6BF-5427-A98396176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215" y="1981617"/>
            <a:ext cx="2819400" cy="2857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9511F3A-CD5C-A3FB-4B13-7F5C10DE9A19}"/>
              </a:ext>
            </a:extLst>
          </p:cNvPr>
          <p:cNvSpPr txBox="1"/>
          <p:nvPr/>
        </p:nvSpPr>
        <p:spPr>
          <a:xfrm>
            <a:off x="7828216" y="4946785"/>
            <a:ext cx="2819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303030"/>
                </a:solidFill>
                <a:latin typeface="Poppins" panose="00000500000000000000" pitchFamily="2" charset="0"/>
              </a:rPr>
              <a:t>ChatGPT</a:t>
            </a:r>
          </a:p>
          <a:p>
            <a:pPr algn="ctr"/>
            <a:r>
              <a:rPr lang="en-US" sz="1400" dirty="0">
                <a:solidFill>
                  <a:srgbClr val="303030"/>
                </a:solidFill>
                <a:latin typeface="Poppins" panose="00000500000000000000" pitchFamily="2" charset="0"/>
              </a:rPr>
              <a:t>Integration and U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F4FFD-EF6D-82D8-5BDB-6B3E43AC5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650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</a:rPr>
              <a:t>Training: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terial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AD86AF-D47A-CC63-03F7-BB85B8C7947F}"/>
              </a:ext>
            </a:extLst>
          </p:cNvPr>
          <p:cNvSpPr txBox="1"/>
          <p:nvPr/>
        </p:nvSpPr>
        <p:spPr>
          <a:xfrm>
            <a:off x="609600" y="1424211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303030"/>
                </a:solidFill>
                <a:latin typeface="Poppins" panose="00000500000000000000" pitchFamily="2" charset="0"/>
              </a:rPr>
              <a:t>For hands-on exercise, the training file are available a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232029-7834-5F51-94E6-FF012E541F81}"/>
              </a:ext>
            </a:extLst>
          </p:cNvPr>
          <p:cNvSpPr txBox="1"/>
          <p:nvPr/>
        </p:nvSpPr>
        <p:spPr>
          <a:xfrm>
            <a:off x="609600" y="2659559"/>
            <a:ext cx="10972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303030"/>
                </a:solidFill>
                <a:latin typeface="Poppins" panose="00000500000000000000" pitchFamily="2" charset="0"/>
              </a:rPr>
              <a:t>https://github.com/tariq-iub/Training</a:t>
            </a:r>
          </a:p>
        </p:txBody>
      </p:sp>
    </p:spTree>
    <p:extLst>
      <p:ext uri="{BB962C8B-B14F-4D97-AF65-F5344CB8AC3E}">
        <p14:creationId xmlns:p14="http://schemas.microsoft.com/office/powerpoint/2010/main" val="2040864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88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2268187897"/>
              </p:ext>
            </p:extLst>
          </p:nvPr>
        </p:nvGraphicFramePr>
        <p:xfrm>
          <a:off x="9400307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4008167129"/>
              </p:ext>
            </p:extLst>
          </p:nvPr>
        </p:nvGraphicFramePr>
        <p:xfrm>
          <a:off x="7818769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939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TI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 STATIC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7" y="872380"/>
            <a:ext cx="5847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Column Chart With Subcompon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59457"/>
            <a:ext cx="58678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Donut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Waterfall Chart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915259428"/>
              </p:ext>
            </p:extLst>
          </p:nvPr>
        </p:nvGraphicFramePr>
        <p:xfrm>
          <a:off x="477990" y="1334028"/>
          <a:ext cx="5304731" cy="2332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/>
              <p:cNvGraphicFramePr/>
              <p:nvPr>
                <p:extLst>
                  <p:ext uri="{D42A27DB-BD31-4B8C-83A1-F6EECF244321}">
                    <p14:modId xmlns:p14="http://schemas.microsoft.com/office/powerpoint/2010/main" val="3418320418"/>
                  </p:ext>
                </p:extLst>
              </p:nvPr>
            </p:nvGraphicFramePr>
            <p:xfrm>
              <a:off x="477990" y="4394029"/>
              <a:ext cx="5395035" cy="21623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7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7990" y="4394029"/>
                <a:ext cx="5395035" cy="2162379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1208828112"/>
              </p:ext>
            </p:extLst>
          </p:nvPr>
        </p:nvGraphicFramePr>
        <p:xfrm>
          <a:off x="6237231" y="2268153"/>
          <a:ext cx="2385131" cy="4435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3" name="Straight Connector 22"/>
          <p:cNvCxnSpPr>
            <a:cxnSpLocks/>
          </p:cNvCxnSpPr>
          <p:nvPr/>
        </p:nvCxnSpPr>
        <p:spPr>
          <a:xfrm flipV="1">
            <a:off x="7844777" y="2391200"/>
            <a:ext cx="766133" cy="2006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7857601" y="6314883"/>
            <a:ext cx="7647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9395889" y="6314883"/>
            <a:ext cx="8080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 flipV="1">
            <a:off x="9424943" y="2391200"/>
            <a:ext cx="767505" cy="15668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55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ord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5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Mail Merg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ChatGP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D20A6F-AB02-08CE-1A20-643FD3D320BF}"/>
              </a:ext>
            </a:extLst>
          </p:cNvPr>
          <p:cNvGrpSpPr/>
          <p:nvPr/>
        </p:nvGrpSpPr>
        <p:grpSpPr>
          <a:xfrm>
            <a:off x="1982347" y="3521599"/>
            <a:ext cx="1280160" cy="1696596"/>
            <a:chOff x="1982347" y="3521599"/>
            <a:chExt cx="1280160" cy="1696596"/>
          </a:xfrm>
        </p:grpSpPr>
        <p:sp>
          <p:nvSpPr>
            <p:cNvPr id="39" name="Action Button: Blank 38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919C9334-D3F3-369B-B706-320731D19BCB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9CB4FB4-C5A2-67A6-C8EE-DBA4AC0BDC1C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Tips Fil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298DE1A-13C2-8D15-C84B-FFA0E1A4B714}"/>
              </a:ext>
            </a:extLst>
          </p:cNvPr>
          <p:cNvGrpSpPr/>
          <p:nvPr/>
        </p:nvGrpSpPr>
        <p:grpSpPr>
          <a:xfrm>
            <a:off x="5505594" y="3521599"/>
            <a:ext cx="1280160" cy="1696596"/>
            <a:chOff x="1982347" y="3521599"/>
            <a:chExt cx="1280160" cy="1696596"/>
          </a:xfrm>
        </p:grpSpPr>
        <p:sp>
          <p:nvSpPr>
            <p:cNvPr id="43" name="Action Button: Blank 42">
              <a:hlinkClick r:id="rId4" action="ppaction://hlinkfile" highlightClick="1"/>
              <a:extLst>
                <a:ext uri="{FF2B5EF4-FFF2-40B4-BE49-F238E27FC236}">
                  <a16:creationId xmlns:a16="http://schemas.microsoft.com/office/drawing/2014/main" id="{2FEA3F0C-F1AE-9ADB-AC65-F179CDA386C3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0699328-7391-9264-A424-411EEF6F3F96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Mail Merg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5C8BB4F-2036-FB8C-DD0F-8637ED7DE38F}"/>
              </a:ext>
            </a:extLst>
          </p:cNvPr>
          <p:cNvGrpSpPr/>
          <p:nvPr/>
        </p:nvGrpSpPr>
        <p:grpSpPr>
          <a:xfrm>
            <a:off x="9028842" y="3521599"/>
            <a:ext cx="1280160" cy="1696596"/>
            <a:chOff x="1982347" y="3521599"/>
            <a:chExt cx="1280160" cy="1696596"/>
          </a:xfrm>
        </p:grpSpPr>
        <p:sp>
          <p:nvSpPr>
            <p:cNvPr id="46" name="Action Button: Blank 45">
              <a:hlinkClick r:id="rId5" action="ppaction://hlinkfile" highlightClick="1"/>
              <a:extLst>
                <a:ext uri="{FF2B5EF4-FFF2-40B4-BE49-F238E27FC236}">
                  <a16:creationId xmlns:a16="http://schemas.microsoft.com/office/drawing/2014/main" id="{2B44792E-71FE-0E8F-E8B9-45632926B6B2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92A81EF-B003-F3B8-39B2-4B9EDBF4C8DD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Demo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958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54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TI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 CHANGE OVER TIME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Area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839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100% Column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06852" y="825798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206852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Column Chart</a:t>
            </a: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239283017"/>
              </p:ext>
            </p:extLst>
          </p:nvPr>
        </p:nvGraphicFramePr>
        <p:xfrm>
          <a:off x="6428266" y="1359437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905300840"/>
              </p:ext>
            </p:extLst>
          </p:nvPr>
        </p:nvGraphicFramePr>
        <p:xfrm>
          <a:off x="277849" y="1342513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604674847"/>
              </p:ext>
            </p:extLst>
          </p:nvPr>
        </p:nvGraphicFramePr>
        <p:xfrm>
          <a:off x="366833" y="4355982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6213841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6213841" y="3847187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tacked Area Chart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2838709714"/>
              </p:ext>
            </p:extLst>
          </p:nvPr>
        </p:nvGraphicFramePr>
        <p:xfrm>
          <a:off x="6394696" y="4372906"/>
          <a:ext cx="5501030" cy="223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056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C9B2A67-BFA6-3AA7-2DEA-308DB9B0B082}"/>
              </a:ext>
            </a:extLst>
          </p:cNvPr>
          <p:cNvSpPr/>
          <p:nvPr/>
        </p:nvSpPr>
        <p:spPr>
          <a:xfrm>
            <a:off x="1053296" y="1590749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General Tip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4058" y="6333201"/>
            <a:ext cx="2743200" cy="365125"/>
          </a:xfrm>
        </p:spPr>
        <p:txBody>
          <a:bodyPr/>
          <a:lstStyle/>
          <a:p>
            <a:fld id="{F233C979-B428-4696-BF10-1C3B9CBA935F}" type="slidenum">
              <a:rPr lang="en-US" smtClean="0"/>
              <a:t>6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403357-326A-BC89-6FC6-45D76CD9D3F7}"/>
              </a:ext>
            </a:extLst>
          </p:cNvPr>
          <p:cNvSpPr/>
          <p:nvPr/>
        </p:nvSpPr>
        <p:spPr>
          <a:xfrm>
            <a:off x="4576543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Data Analysi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3325B-E3CE-08D8-01CE-42AC07F399FB}"/>
              </a:ext>
            </a:extLst>
          </p:cNvPr>
          <p:cNvSpPr/>
          <p:nvPr/>
        </p:nvSpPr>
        <p:spPr>
          <a:xfrm>
            <a:off x="8099791" y="1590747"/>
            <a:ext cx="3138262" cy="10598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Poppins" panose="00000500000000000000" pitchFamily="2" charset="0"/>
                <a:cs typeface="Poppins" panose="00000500000000000000" pitchFamily="2" charset="0"/>
              </a:rPr>
              <a:t>ChatGP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D20A6F-AB02-08CE-1A20-643FD3D320BF}"/>
              </a:ext>
            </a:extLst>
          </p:cNvPr>
          <p:cNvGrpSpPr/>
          <p:nvPr/>
        </p:nvGrpSpPr>
        <p:grpSpPr>
          <a:xfrm>
            <a:off x="1982347" y="3521599"/>
            <a:ext cx="1280160" cy="1696596"/>
            <a:chOff x="1982347" y="3521599"/>
            <a:chExt cx="1280160" cy="1696596"/>
          </a:xfrm>
        </p:grpSpPr>
        <p:sp>
          <p:nvSpPr>
            <p:cNvPr id="39" name="Action Button: Blank 38">
              <a:hlinkClick r:id="rId2" action="ppaction://hlinkfile" highlightClick="1"/>
              <a:extLst>
                <a:ext uri="{FF2B5EF4-FFF2-40B4-BE49-F238E27FC236}">
                  <a16:creationId xmlns:a16="http://schemas.microsoft.com/office/drawing/2014/main" id="{919C9334-D3F3-369B-B706-320731D19BCB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9CB4FB4-C5A2-67A6-C8EE-DBA4AC0BDC1C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Open Fil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44D9622-33E3-77F9-59A0-FFDE48827A03}"/>
              </a:ext>
            </a:extLst>
          </p:cNvPr>
          <p:cNvGrpSpPr/>
          <p:nvPr/>
        </p:nvGrpSpPr>
        <p:grpSpPr>
          <a:xfrm>
            <a:off x="5505594" y="2821403"/>
            <a:ext cx="1280160" cy="1385996"/>
            <a:chOff x="1982347" y="3559657"/>
            <a:chExt cx="1280160" cy="1385996"/>
          </a:xfrm>
        </p:grpSpPr>
        <p:sp>
          <p:nvSpPr>
            <p:cNvPr id="3" name="Action Button: Blank 2">
              <a:hlinkClick r:id="rId4" action="ppaction://hlinkfile" highlightClick="1"/>
              <a:extLst>
                <a:ext uri="{FF2B5EF4-FFF2-40B4-BE49-F238E27FC236}">
                  <a16:creationId xmlns:a16="http://schemas.microsoft.com/office/drawing/2014/main" id="{A70D2DE7-73AE-3A68-E6CC-B21DDEF85F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5227" y="3559657"/>
              <a:ext cx="914400" cy="979715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E72775B-E930-7EDC-41CF-27651074CF3C}"/>
                </a:ext>
              </a:extLst>
            </p:cNvPr>
            <p:cNvSpPr txBox="1"/>
            <p:nvPr/>
          </p:nvSpPr>
          <p:spPr>
            <a:xfrm>
              <a:off x="1982347" y="4637876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PivotTabl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C129A19-0192-B888-369F-A1B3A02C764F}"/>
              </a:ext>
            </a:extLst>
          </p:cNvPr>
          <p:cNvGrpSpPr/>
          <p:nvPr/>
        </p:nvGrpSpPr>
        <p:grpSpPr>
          <a:xfrm>
            <a:off x="5505594" y="4371308"/>
            <a:ext cx="1280160" cy="1385996"/>
            <a:chOff x="1982347" y="3559657"/>
            <a:chExt cx="1280160" cy="1385996"/>
          </a:xfrm>
        </p:grpSpPr>
        <p:sp>
          <p:nvSpPr>
            <p:cNvPr id="6" name="Action Button: Blank 5">
              <a:hlinkClick r:id="rId5" action="ppaction://hlinkfile" highlightClick="1"/>
              <a:extLst>
                <a:ext uri="{FF2B5EF4-FFF2-40B4-BE49-F238E27FC236}">
                  <a16:creationId xmlns:a16="http://schemas.microsoft.com/office/drawing/2014/main" id="{232679C0-8340-6328-0C00-0B0D49830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65227" y="3559657"/>
              <a:ext cx="914400" cy="979715"/>
            </a:xfrm>
            <a:prstGeom prst="actionButtonBlank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4E10386-CB19-6B33-18B2-B830A296F94C}"/>
                </a:ext>
              </a:extLst>
            </p:cNvPr>
            <p:cNvSpPr txBox="1"/>
            <p:nvPr/>
          </p:nvSpPr>
          <p:spPr>
            <a:xfrm>
              <a:off x="1982347" y="4637876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Analytic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EBBCBB2-43CF-9BFD-48A3-BAE04142CDC5}"/>
              </a:ext>
            </a:extLst>
          </p:cNvPr>
          <p:cNvGrpSpPr/>
          <p:nvPr/>
        </p:nvGrpSpPr>
        <p:grpSpPr>
          <a:xfrm>
            <a:off x="9028842" y="3523010"/>
            <a:ext cx="1280160" cy="1696596"/>
            <a:chOff x="1982347" y="3521599"/>
            <a:chExt cx="1280160" cy="1696596"/>
          </a:xfrm>
        </p:grpSpPr>
        <p:sp>
          <p:nvSpPr>
            <p:cNvPr id="11" name="Action Button: Blank 10">
              <a:hlinkClick r:id="rId7" action="ppaction://hlinkfile" highlightClick="1"/>
              <a:extLst>
                <a:ext uri="{FF2B5EF4-FFF2-40B4-BE49-F238E27FC236}">
                  <a16:creationId xmlns:a16="http://schemas.microsoft.com/office/drawing/2014/main" id="{AD0322DE-12C4-157E-18E2-78FF474BE43C}"/>
                </a:ext>
              </a:extLst>
            </p:cNvPr>
            <p:cNvSpPr/>
            <p:nvPr/>
          </p:nvSpPr>
          <p:spPr>
            <a:xfrm>
              <a:off x="1982347" y="3521599"/>
              <a:ext cx="1280160" cy="1371600"/>
            </a:xfrm>
            <a:prstGeom prst="actionButtonBlank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00452AE-5AAF-E97C-17BA-9E4C590A3BE1}"/>
                </a:ext>
              </a:extLst>
            </p:cNvPr>
            <p:cNvSpPr txBox="1"/>
            <p:nvPr/>
          </p:nvSpPr>
          <p:spPr>
            <a:xfrm>
              <a:off x="1982347" y="4910418"/>
              <a:ext cx="12801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Poppins" panose="00000500000000000000" pitchFamily="2" charset="0"/>
                  <a:cs typeface="Poppins" panose="00000500000000000000" pitchFamily="2" charset="0"/>
                </a:rPr>
                <a:t>Demo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61154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5" grpId="0" animBg="1"/>
      <p:bldP spid="35" grpId="1" animBg="1"/>
      <p:bldP spid="36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Multiple Line Ch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Single Line Char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ircular Area Chart</a:t>
            </a:r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514948755"/>
              </p:ext>
            </p:extLst>
          </p:nvPr>
        </p:nvGraphicFramePr>
        <p:xfrm>
          <a:off x="366833" y="4355535"/>
          <a:ext cx="5705014" cy="2300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3129268785"/>
              </p:ext>
            </p:extLst>
          </p:nvPr>
        </p:nvGraphicFramePr>
        <p:xfrm>
          <a:off x="344349" y="1370773"/>
          <a:ext cx="5572015" cy="2202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743556533"/>
              </p:ext>
            </p:extLst>
          </p:nvPr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8799762" y="1814992"/>
            <a:ext cx="430306" cy="820270"/>
            <a:chOff x="5190565" y="1532965"/>
            <a:chExt cx="430306" cy="820270"/>
          </a:xfrm>
        </p:grpSpPr>
        <p:sp>
          <p:nvSpPr>
            <p:cNvPr id="22" name="Oval 21"/>
            <p:cNvSpPr/>
            <p:nvPr/>
          </p:nvSpPr>
          <p:spPr>
            <a:xfrm>
              <a:off x="5190565" y="1909482"/>
              <a:ext cx="430306" cy="44375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Arrow Connector 22"/>
            <p:cNvCxnSpPr>
              <a:stCxn id="22" idx="0"/>
            </p:cNvCxnSpPr>
            <p:nvPr/>
          </p:nvCxnSpPr>
          <p:spPr>
            <a:xfrm flipV="1">
              <a:off x="5405718" y="1532965"/>
              <a:ext cx="0" cy="37651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/>
          <p:cNvSpPr/>
          <p:nvPr/>
        </p:nvSpPr>
        <p:spPr>
          <a:xfrm>
            <a:off x="8786315" y="2226777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7</a:t>
            </a:r>
            <a:endParaRPr lang="en-US" dirty="0">
              <a:ln w="31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372506706"/>
              </p:ext>
            </p:extLst>
          </p:nvPr>
        </p:nvGraphicFramePr>
        <p:xfrm>
          <a:off x="6648037" y="4333280"/>
          <a:ext cx="4927209" cy="2322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46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E36CA-7328-FE8C-D7C4-998119962971}"/>
              </a:ext>
            </a:extLst>
          </p:cNvPr>
          <p:cNvCxnSpPr>
            <a:cxnSpLocks/>
          </p:cNvCxnSpPr>
          <p:nvPr/>
        </p:nvCxnSpPr>
        <p:spPr>
          <a:xfrm>
            <a:off x="609600" y="930085"/>
            <a:ext cx="10972800" cy="0"/>
          </a:xfrm>
          <a:prstGeom prst="line">
            <a:avLst/>
          </a:prstGeom>
          <a:ln w="38100">
            <a:solidFill>
              <a:srgbClr val="637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AB36704-D63D-FA74-870A-8D8EC30C433B}"/>
              </a:ext>
            </a:extLst>
          </p:cNvPr>
          <p:cNvSpPr txBox="1">
            <a:spLocks/>
          </p:cNvSpPr>
          <p:nvPr/>
        </p:nvSpPr>
        <p:spPr>
          <a:xfrm>
            <a:off x="487522" y="244285"/>
            <a:ext cx="11094878" cy="64008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>
                    <a:lumMod val="25000"/>
                  </a:schemeClr>
                </a:solidFill>
                <a:latin typeface="Poppins Light" panose="00000400000000000000" pitchFamily="2" charset="0"/>
                <a:ea typeface="+mj-ea"/>
                <a:cs typeface="Poppins Light" panose="00000400000000000000" pitchFamily="2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200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icrosoft </a:t>
            </a:r>
            <a:r>
              <a:rPr lang="en-US" sz="3200" b="1" dirty="0">
                <a:solidFill>
                  <a:srgbClr val="30303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xc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0FCD6-27E1-F3B3-1285-D8E7D6D5AB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107993"/>
            <a:ext cx="10972799" cy="5202635"/>
          </a:xfrm>
        </p:spPr>
        <p:txBody>
          <a:bodyPr/>
          <a:lstStyle/>
          <a:p>
            <a:pPr marL="457200" indent="-457200">
              <a:buFont typeface="Wingdings 3" panose="05040102010807070707" pitchFamily="18" charset="2"/>
              <a:buChar char="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Char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 picture speaks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000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f word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isual representations of data that can help to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alyz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and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derstand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the information. 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ed to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how trend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arison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and </a:t>
            </a:r>
            <a:r>
              <a:rPr lang="en-US" dirty="0">
                <a:solidFill>
                  <a:srgbClr val="6378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lationship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between different sets of data.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966BE8AF-0081-DD22-D875-EE2700AE9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33C979-B428-4696-BF10-1C3B9CBA935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8755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6188138" y="3839267"/>
            <a:ext cx="5847008" cy="28824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06852" y="3847187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06852" y="3847187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Table with Embed Chart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859832"/>
              </p:ext>
            </p:extLst>
          </p:nvPr>
        </p:nvGraphicFramePr>
        <p:xfrm>
          <a:off x="791662" y="4485598"/>
          <a:ext cx="4516767" cy="2039916"/>
        </p:xfrm>
        <a:graphic>
          <a:graphicData uri="http://schemas.openxmlformats.org/drawingml/2006/table">
            <a:tbl>
              <a:tblPr firstRow="1" bandRow="1"/>
              <a:tblGrid>
                <a:gridCol w="1505589">
                  <a:extLst>
                    <a:ext uri="{9D8B030D-6E8A-4147-A177-3AD203B41FA5}">
                      <a16:colId xmlns:a16="http://schemas.microsoft.com/office/drawing/2014/main" val="417363144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385096453"/>
                    </a:ext>
                  </a:extLst>
                </a:gridCol>
                <a:gridCol w="1505589">
                  <a:extLst>
                    <a:ext uri="{9D8B030D-6E8A-4147-A177-3AD203B41FA5}">
                      <a16:colId xmlns:a16="http://schemas.microsoft.com/office/drawing/2014/main" val="4196984809"/>
                    </a:ext>
                  </a:extLst>
                </a:gridCol>
              </a:tblGrid>
              <a:tr h="6799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191623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059109"/>
                  </a:ext>
                </a:extLst>
              </a:tr>
              <a:tr h="6799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51284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06852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06852" y="833718"/>
            <a:ext cx="586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Bar Chart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6188138" y="833718"/>
            <a:ext cx="5847008" cy="2874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n w="28575">
                  <a:noFill/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 </a:t>
            </a:r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S</a:t>
            </a:r>
            <a:endParaRPr lang="en-US" b="1" dirty="0">
              <a:ln w="28575">
                <a:noFill/>
              </a:ln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3610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n w="28575">
                  <a:noFill/>
                </a:ln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T SUGGESTIO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8" y="833718"/>
            <a:ext cx="5847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67242" y="3839267"/>
            <a:ext cx="5867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2857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panose="020B0604020202020204" pitchFamily="34" charset="0"/>
              </a:rPr>
              <a:t>Column Chart Different Width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104348562"/>
              </p:ext>
            </p:extLst>
          </p:nvPr>
        </p:nvGraphicFramePr>
        <p:xfrm>
          <a:off x="7798352" y="1367566"/>
          <a:ext cx="2433126" cy="2205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187576755"/>
              </p:ext>
            </p:extLst>
          </p:nvPr>
        </p:nvGraphicFramePr>
        <p:xfrm>
          <a:off x="670055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2083145357"/>
              </p:ext>
            </p:extLst>
          </p:nvPr>
        </p:nvGraphicFramePr>
        <p:xfrm>
          <a:off x="3212893" y="1480049"/>
          <a:ext cx="2146788" cy="2056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24"/>
          <p:cNvGraphicFramePr/>
          <p:nvPr>
            <p:extLst>
              <p:ext uri="{D42A27DB-BD31-4B8C-83A1-F6EECF244321}">
                <p14:modId xmlns:p14="http://schemas.microsoft.com/office/powerpoint/2010/main" val="316832306"/>
              </p:ext>
            </p:extLst>
          </p:nvPr>
        </p:nvGraphicFramePr>
        <p:xfrm>
          <a:off x="1073960" y="4485598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2588014270"/>
              </p:ext>
            </p:extLst>
          </p:nvPr>
        </p:nvGraphicFramePr>
        <p:xfrm>
          <a:off x="2605263" y="5130961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3978492470"/>
              </p:ext>
            </p:extLst>
          </p:nvPr>
        </p:nvGraphicFramePr>
        <p:xfrm>
          <a:off x="4136566" y="4447814"/>
          <a:ext cx="889563" cy="749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3407501280"/>
              </p:ext>
            </p:extLst>
          </p:nvPr>
        </p:nvGraphicFramePr>
        <p:xfrm>
          <a:off x="4079636" y="5168745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Chart 30"/>
          <p:cNvGraphicFramePr/>
          <p:nvPr>
            <p:extLst>
              <p:ext uri="{D42A27DB-BD31-4B8C-83A1-F6EECF244321}">
                <p14:modId xmlns:p14="http://schemas.microsoft.com/office/powerpoint/2010/main" val="636989249"/>
              </p:ext>
            </p:extLst>
          </p:nvPr>
        </p:nvGraphicFramePr>
        <p:xfrm>
          <a:off x="1077768" y="5896629"/>
          <a:ext cx="1068146" cy="66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E27B02D-610B-44F7-9C23-9544446998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1148857"/>
              </p:ext>
            </p:extLst>
          </p:nvPr>
        </p:nvGraphicFramePr>
        <p:xfrm>
          <a:off x="7295396" y="4367991"/>
          <a:ext cx="3885493" cy="219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36101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24"/>
          <p:cNvCxnSpPr>
            <a:cxnSpLocks/>
            <a:endCxn id="21" idx="0"/>
          </p:cNvCxnSpPr>
          <p:nvPr/>
        </p:nvCxnSpPr>
        <p:spPr>
          <a:xfrm flipH="1">
            <a:off x="6096001" y="1175852"/>
            <a:ext cx="6265" cy="17830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2" name="Slide Zoom 21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46633724"/>
                  </p:ext>
                </p:extLst>
              </p:nvPr>
            </p:nvGraphicFramePr>
            <p:xfrm>
              <a:off x="695759" y="2606819"/>
              <a:ext cx="2770909" cy="1558636"/>
            </p:xfrm>
            <a:graphic>
              <a:graphicData uri="http://schemas.microsoft.com/office/powerpoint/2016/slidezoom">
                <pslz:sldZm>
                  <pslz:sldZmObj sldId="289" cId="2994021351">
                    <pslz:zmPr id="{431E686A-A16F-4DB0-B2B2-01433E0395C2}" transitionDur="5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127000" cap="rnd">
                          <a:solidFill>
                            <a:srgbClr val="FFFFFF"/>
                          </a:solidFill>
                        </a:ln>
                        <a:effectLst>
                          <a:outerShdw blurRad="76200" dist="95250" dir="10500000" sx="97000" sy="23000" kx="900000" algn="br" rotWithShape="0">
                            <a:srgbClr val="000000">
                              <a:alpha val="20000"/>
                            </a:srgbClr>
                          </a:outerShdw>
                        </a:effectLst>
                        <a:scene3d>
                          <a:camera prst="orthographicFront"/>
                          <a:lightRig rig="twoPt" dir="t">
                            <a:rot lat="0" lon="0" rev="7800000"/>
                          </a:lightRig>
                        </a:scene3d>
                        <a:sp3d contourW="6350">
                          <a:bevelT w="50800" h="16510"/>
                          <a:contourClr>
                            <a:srgbClr val="C0C0C0"/>
                          </a:contourClr>
                        </a:sp3d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2" name="Slide Zoom 21">
                <a:hlinkClick r:id="rId4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5759" y="2606819"/>
                <a:ext cx="2770909" cy="1558636"/>
              </a:xfrm>
              <a:prstGeom prst="rect">
                <a:avLst/>
              </a:prstGeom>
              <a:ln w="127000" cap="rnd">
                <a:solidFill>
                  <a:srgbClr val="FFFFFF"/>
                </a:solidFill>
              </a:ln>
              <a:effectLst>
                <a:outerShdw blurRad="76200" dist="95250" dir="10500000" sx="97000" sy="23000" kx="900000" algn="br" rotWithShape="0">
                  <a:srgbClr val="000000">
                    <a:alpha val="20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89862687"/>
                  </p:ext>
                </p:extLst>
              </p:nvPr>
            </p:nvGraphicFramePr>
            <p:xfrm>
              <a:off x="9115895" y="2606819"/>
              <a:ext cx="2770909" cy="1558636"/>
            </p:xfrm>
            <a:graphic>
              <a:graphicData uri="http://schemas.microsoft.com/office/powerpoint/2016/slidezoom">
                <pslz:sldZm>
                  <pslz:sldZmObj sldId="296" cId="3990827385">
                    <pslz:zmPr id="{304B7924-92A3-45DB-88FA-41BD34818598}" transitionDur="5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127000" cap="rnd">
                          <a:solidFill>
                            <a:srgbClr val="FFFFFF"/>
                          </a:solidFill>
                        </a:ln>
                        <a:effectLst>
                          <a:outerShdw blurRad="76200" dist="95250" dir="10500000" sx="97000" sy="23000" kx="900000" algn="br" rotWithShape="0">
                            <a:srgbClr val="000000">
                              <a:alpha val="20000"/>
                            </a:srgbClr>
                          </a:outerShdw>
                        </a:effectLst>
                        <a:scene3d>
                          <a:camera prst="orthographicFront"/>
                          <a:lightRig rig="twoPt" dir="t">
                            <a:rot lat="0" lon="0" rev="7800000"/>
                          </a:lightRig>
                        </a:scene3d>
                        <a:sp3d contourW="6350">
                          <a:bevelT w="50800" h="16510"/>
                          <a:contourClr>
                            <a:srgbClr val="C0C0C0"/>
                          </a:contourClr>
                        </a:sp3d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hlinkClick r:id="rId7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115895" y="2606819"/>
                <a:ext cx="2770909" cy="1558636"/>
              </a:xfrm>
              <a:prstGeom prst="rect">
                <a:avLst/>
              </a:prstGeom>
              <a:ln w="127000" cap="rnd">
                <a:solidFill>
                  <a:srgbClr val="FFFFFF"/>
                </a:solidFill>
              </a:ln>
              <a:effectLst>
                <a:outerShdw blurRad="76200" dist="95250" dir="10500000" sx="97000" sy="23000" kx="900000" algn="br" rotWithShape="0">
                  <a:srgbClr val="000000">
                    <a:alpha val="20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</mc:Fallback>
      </mc:AlternateContent>
      <p:cxnSp>
        <p:nvCxnSpPr>
          <p:cNvPr id="6" name="Straight Connector 5"/>
          <p:cNvCxnSpPr>
            <a:cxnSpLocks/>
          </p:cNvCxnSpPr>
          <p:nvPr/>
        </p:nvCxnSpPr>
        <p:spPr>
          <a:xfrm flipH="1" flipV="1">
            <a:off x="8245943" y="2967260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/>
        </p:nvCxnSpPr>
        <p:spPr>
          <a:xfrm flipH="1" flipV="1">
            <a:off x="8245943" y="3867587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>
            <a:cxnSpLocks/>
          </p:cNvCxnSpPr>
          <p:nvPr/>
        </p:nvCxnSpPr>
        <p:spPr>
          <a:xfrm flipV="1">
            <a:off x="10733718" y="2245902"/>
            <a:ext cx="0" cy="572517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 flipH="1">
            <a:off x="7906506" y="2245902"/>
            <a:ext cx="2827212" cy="7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/>
        </p:nvCxnSpPr>
        <p:spPr>
          <a:xfrm>
            <a:off x="10765085" y="4112783"/>
            <a:ext cx="0" cy="29845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6664817" y="3417424"/>
            <a:ext cx="15811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8245943" y="2967260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245943" y="3417424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603203" y="2251575"/>
            <a:ext cx="113051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hree Variabl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756289" y="4328501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221909" y="389733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oint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21909" y="249658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oint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21909" y="3216914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ng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>
            <a:off x="7901855" y="4411236"/>
            <a:ext cx="2863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cxnSpLocks/>
          </p:cNvCxnSpPr>
          <p:nvPr/>
        </p:nvCxnSpPr>
        <p:spPr>
          <a:xfrm flipV="1">
            <a:off x="7901855" y="2251575"/>
            <a:ext cx="5171" cy="11502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>
          <a:xfrm flipH="1" flipV="1">
            <a:off x="7898658" y="3432583"/>
            <a:ext cx="3242" cy="978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6989871" y="3317323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ISTRIBUTION</a:t>
            </a: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840674" y="4045276"/>
            <a:ext cx="0" cy="36596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42301" y="4263199"/>
            <a:ext cx="7359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ariables</a:t>
            </a: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 flipH="1">
            <a:off x="840674" y="4411236"/>
            <a:ext cx="33087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>
          <a:xfrm flipV="1">
            <a:off x="2300235" y="2374163"/>
            <a:ext cx="0" cy="388296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 flipH="1">
            <a:off x="2300235" y="2374163"/>
            <a:ext cx="18491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2610175" y="2146968"/>
            <a:ext cx="13651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hree Variables</a:t>
            </a:r>
          </a:p>
        </p:txBody>
      </p:sp>
      <p:cxnSp>
        <p:nvCxnSpPr>
          <p:cNvPr id="53" name="Straight Connector 52"/>
          <p:cNvCxnSpPr>
            <a:cxnSpLocks/>
          </p:cNvCxnSpPr>
          <p:nvPr/>
        </p:nvCxnSpPr>
        <p:spPr>
          <a:xfrm flipV="1">
            <a:off x="4148465" y="2374163"/>
            <a:ext cx="0" cy="1018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 flipH="1">
            <a:off x="4148466" y="3417424"/>
            <a:ext cx="13098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 flipH="1" flipV="1">
            <a:off x="4148557" y="3386140"/>
            <a:ext cx="6500" cy="1025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4202276" y="3317323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LATIONSHIP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3" name="Slide Zoom 62"/>
              <p:cNvGraphicFramePr>
                <a:graphicFrameLocks noChangeAspect="1"/>
              </p:cNvGraphicFramePr>
              <p:nvPr/>
            </p:nvGraphicFramePr>
            <p:xfrm>
              <a:off x="9108923" y="4902764"/>
              <a:ext cx="2770909" cy="1558636"/>
            </p:xfrm>
            <a:graphic>
              <a:graphicData uri="http://schemas.microsoft.com/office/powerpoint/2016/slidezoom">
                <pslz:sldZm>
                  <pslz:sldZmObj sldId="297" cId="2740558795">
                    <pslz:zmPr id="{C444C85F-8153-4390-8548-3360264DC460}" transitionDur="5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3" name="Slide Zoom 62">
                <a:hlinkClick r:id="rId10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108923" y="4902764"/>
                <a:ext cx="2770909" cy="155863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5" name="Slide Zoom 64"/>
              <p:cNvGraphicFramePr>
                <a:graphicFrameLocks noChangeAspect="1"/>
              </p:cNvGraphicFramePr>
              <p:nvPr/>
            </p:nvGraphicFramePr>
            <p:xfrm>
              <a:off x="617949" y="4995817"/>
              <a:ext cx="2770909" cy="1558636"/>
            </p:xfrm>
            <a:graphic>
              <a:graphicData uri="http://schemas.microsoft.com/office/powerpoint/2016/slidezoom">
                <pslz:sldZm>
                  <pslz:sldZmObj sldId="298" cId="530568115">
                    <pslz:zmPr id="{EFAE1CA7-5486-40D6-BACC-3C632AED0D9A}" transitionDur="5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0909" cy="155863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5" name="Slide Zoom 64">
                <a:hlinkClick r:id="rId13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17949" y="4995817"/>
                <a:ext cx="2770909" cy="155863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cxnSp>
        <p:nvCxnSpPr>
          <p:cNvPr id="79" name="Straight Connector 78"/>
          <p:cNvCxnSpPr>
            <a:cxnSpLocks/>
          </p:cNvCxnSpPr>
          <p:nvPr/>
        </p:nvCxnSpPr>
        <p:spPr>
          <a:xfrm flipH="1">
            <a:off x="8254291" y="5976946"/>
            <a:ext cx="1029929" cy="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10980153" y="6281164"/>
            <a:ext cx="5846" cy="36047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</p:cNvCxnSpPr>
          <p:nvPr/>
        </p:nvCxnSpPr>
        <p:spPr>
          <a:xfrm flipH="1">
            <a:off x="8254291" y="6638131"/>
            <a:ext cx="2731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 flipH="1">
            <a:off x="8254291" y="5466737"/>
            <a:ext cx="1029929" cy="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 flipV="1">
            <a:off x="8254290" y="5466737"/>
            <a:ext cx="1" cy="11713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6792894" y="5250405"/>
            <a:ext cx="646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at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i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082689" y="5035850"/>
            <a:ext cx="1201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hare of Total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8082689" y="5575652"/>
            <a:ext cx="1201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ccumul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ubst. of Total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125036" y="6414734"/>
            <a:ext cx="1977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mponents of Component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140904" y="5255001"/>
            <a:ext cx="64659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hange over ti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362082" y="4973260"/>
            <a:ext cx="77216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lative Differ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364478" y="5712422"/>
            <a:ext cx="126594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lative and Absolu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iffer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cxnSp>
        <p:nvCxnSpPr>
          <p:cNvPr id="59" name="Straight Connector 58"/>
          <p:cNvCxnSpPr>
            <a:cxnSpLocks/>
          </p:cNvCxnSpPr>
          <p:nvPr/>
        </p:nvCxnSpPr>
        <p:spPr>
          <a:xfrm flipV="1">
            <a:off x="3280786" y="5329850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 flipV="1">
            <a:off x="3280786" y="6230177"/>
            <a:ext cx="939631" cy="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cxnSpLocks/>
          </p:cNvCxnSpPr>
          <p:nvPr/>
        </p:nvCxnSpPr>
        <p:spPr>
          <a:xfrm flipV="1">
            <a:off x="1846092" y="4640229"/>
            <a:ext cx="8796" cy="540780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1854888" y="4640229"/>
            <a:ext cx="3265617" cy="35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1814725" y="6475373"/>
            <a:ext cx="0" cy="17145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 flipV="1">
            <a:off x="4220416" y="5775135"/>
            <a:ext cx="1924806" cy="48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>
          <a:xfrm flipH="1">
            <a:off x="4220417" y="5329850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cxnSpLocks/>
          </p:cNvCxnSpPr>
          <p:nvPr/>
        </p:nvCxnSpPr>
        <p:spPr>
          <a:xfrm flipH="1">
            <a:off x="4220417" y="5780014"/>
            <a:ext cx="0" cy="45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 flipH="1">
            <a:off x="2907828" y="6620975"/>
            <a:ext cx="20645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 – Relative Difference</a:t>
            </a:r>
          </a:p>
        </p:txBody>
      </p:sp>
      <p:sp>
        <p:nvSpPr>
          <p:cNvPr id="74" name="TextBox 73"/>
          <p:cNvSpPr txBox="1"/>
          <p:nvPr/>
        </p:nvSpPr>
        <p:spPr>
          <a:xfrm flipH="1">
            <a:off x="4287151" y="5410570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Periods</a:t>
            </a: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1814725" y="6646826"/>
            <a:ext cx="33087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/>
        </p:nvCxnSpPr>
        <p:spPr>
          <a:xfrm flipH="1" flipV="1">
            <a:off x="5116871" y="4640230"/>
            <a:ext cx="6590" cy="1115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cxnSpLocks/>
          </p:cNvCxnSpPr>
          <p:nvPr/>
        </p:nvCxnSpPr>
        <p:spPr>
          <a:xfrm flipV="1">
            <a:off x="5123461" y="5804322"/>
            <a:ext cx="1" cy="8425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 flipH="1">
            <a:off x="2216543" y="4625771"/>
            <a:ext cx="28065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 – Relative and Absolut Difference</a:t>
            </a:r>
          </a:p>
        </p:txBody>
      </p: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5997555" y="5775135"/>
            <a:ext cx="2250247" cy="6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6145222" y="3964251"/>
            <a:ext cx="0" cy="1828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649405" y="4396078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OSITION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0" name="Slide Zoom 39"/>
              <p:cNvGraphicFramePr>
                <a:graphicFrameLocks noChangeAspect="1"/>
              </p:cNvGraphicFramePr>
              <p:nvPr/>
            </p:nvGraphicFramePr>
            <p:xfrm>
              <a:off x="9108923" y="305174"/>
              <a:ext cx="2832903" cy="1593508"/>
            </p:xfrm>
            <a:graphic>
              <a:graphicData uri="http://schemas.microsoft.com/office/powerpoint/2016/slidezoom">
                <pslz:sldZm>
                  <pslz:sldZmObj sldId="299" cId="392463949">
                    <pslz:zmPr id="{0828D567-08A4-44E3-8D85-37F1E848961F}" transitionDur="5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32903" cy="159350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0" name="Slide Zoom 39">
                <a:hlinkClick r:id="rId16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9108923" y="305174"/>
                <a:ext cx="2832903" cy="159350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grpSp>
        <p:nvGrpSpPr>
          <p:cNvPr id="98" name="Group 97"/>
          <p:cNvGrpSpPr/>
          <p:nvPr/>
        </p:nvGrpSpPr>
        <p:grpSpPr>
          <a:xfrm>
            <a:off x="8366803" y="1774257"/>
            <a:ext cx="3265616" cy="297545"/>
            <a:chOff x="8366803" y="1774257"/>
            <a:chExt cx="3265616" cy="297545"/>
          </a:xfrm>
        </p:grpSpPr>
        <p:cxnSp>
          <p:nvCxnSpPr>
            <p:cNvPr id="93" name="Straight Connector 92"/>
            <p:cNvCxnSpPr>
              <a:cxnSpLocks/>
            </p:cNvCxnSpPr>
            <p:nvPr/>
          </p:nvCxnSpPr>
          <p:spPr>
            <a:xfrm>
              <a:off x="11631622" y="1781210"/>
              <a:ext cx="797" cy="290592"/>
            </a:xfrm>
            <a:prstGeom prst="line">
              <a:avLst/>
            </a:prstGeom>
            <a:ln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cxnSpLocks/>
            </p:cNvCxnSpPr>
            <p:nvPr/>
          </p:nvCxnSpPr>
          <p:spPr>
            <a:xfrm flipH="1" flipV="1">
              <a:off x="8366803" y="2068298"/>
              <a:ext cx="3265616" cy="350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9898427" y="1774257"/>
              <a:ext cx="797" cy="290592"/>
            </a:xfrm>
            <a:prstGeom prst="line">
              <a:avLst/>
            </a:prstGeom>
            <a:ln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0" name="Straight Connector 99"/>
          <p:cNvCxnSpPr>
            <a:cxnSpLocks/>
          </p:cNvCxnSpPr>
          <p:nvPr/>
        </p:nvCxnSpPr>
        <p:spPr>
          <a:xfrm flipV="1">
            <a:off x="11713747" y="268546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>
          <a:xfrm flipH="1">
            <a:off x="8355235" y="268546"/>
            <a:ext cx="3359309" cy="58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cxnSpLocks/>
          </p:cNvCxnSpPr>
          <p:nvPr/>
        </p:nvCxnSpPr>
        <p:spPr>
          <a:xfrm flipV="1">
            <a:off x="10318486" y="275499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10674372" y="1849291"/>
            <a:ext cx="948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yclical Data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792539" y="1854964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on-Cyclical Data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765642" y="14844"/>
            <a:ext cx="1176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Categorie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9234988" y="20517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 flipH="1" flipV="1">
            <a:off x="8355235" y="279903"/>
            <a:ext cx="7442" cy="17918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 flipH="1">
            <a:off x="5892127" y="1175852"/>
            <a:ext cx="24498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6993302" y="952988"/>
            <a:ext cx="8923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ver Time</a:t>
            </a:r>
          </a:p>
        </p:txBody>
      </p:sp>
      <p:sp>
        <p:nvSpPr>
          <p:cNvPr id="113" name="TextBox 112"/>
          <p:cNvSpPr txBox="1"/>
          <p:nvPr/>
        </p:nvSpPr>
        <p:spPr>
          <a:xfrm flipH="1">
            <a:off x="8327963" y="516820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Periods</a:t>
            </a:r>
          </a:p>
        </p:txBody>
      </p:sp>
      <p:sp>
        <p:nvSpPr>
          <p:cNvPr id="114" name="TextBox 113"/>
          <p:cNvSpPr txBox="1"/>
          <p:nvPr/>
        </p:nvSpPr>
        <p:spPr>
          <a:xfrm flipH="1">
            <a:off x="8356932" y="1357503"/>
            <a:ext cx="7359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Periods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Slide Zoom 4"/>
              <p:cNvGraphicFramePr>
                <a:graphicFrameLocks noChangeAspect="1"/>
              </p:cNvGraphicFramePr>
              <p:nvPr/>
            </p:nvGraphicFramePr>
            <p:xfrm>
              <a:off x="617949" y="305174"/>
              <a:ext cx="2775198" cy="1561049"/>
            </p:xfrm>
            <a:graphic>
              <a:graphicData uri="http://schemas.microsoft.com/office/powerpoint/2016/slidezoom">
                <pslz:sldZm>
                  <pslz:sldZmObj sldId="302" cId="1361011251">
                    <pslz:zmPr id="{495D6321-50DD-4D86-9B45-5BD69ACB47E9}" transitionDur="50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75198" cy="156104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  <a:effectLst>
                          <a:outerShdw blurRad="76200" dir="13500000" sy="23000" kx="1200000" algn="br" rotWithShape="0">
                            <a:prstClr val="black">
                              <a:alpha val="20000"/>
                            </a:prst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Slide Zoom 4">
                <a:hlinkClick r:id="rId19" action="ppaction://hlinksldjump"/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17949" y="305174"/>
                <a:ext cx="2775198" cy="1561049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</mc:Fallback>
      </mc:AlternateContent>
      <p:cxnSp>
        <p:nvCxnSpPr>
          <p:cNvPr id="95" name="Straight Connector 94"/>
          <p:cNvCxnSpPr>
            <a:cxnSpLocks/>
          </p:cNvCxnSpPr>
          <p:nvPr/>
        </p:nvCxnSpPr>
        <p:spPr>
          <a:xfrm flipH="1">
            <a:off x="1294543" y="1770472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1295340" y="2068298"/>
            <a:ext cx="28254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cxnSpLocks/>
          </p:cNvCxnSpPr>
          <p:nvPr/>
        </p:nvCxnSpPr>
        <p:spPr>
          <a:xfrm flipH="1">
            <a:off x="2166854" y="1781834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cxnSpLocks/>
          </p:cNvCxnSpPr>
          <p:nvPr/>
        </p:nvCxnSpPr>
        <p:spPr>
          <a:xfrm flipH="1" flipV="1">
            <a:off x="1721185" y="273404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cxnSpLocks/>
          </p:cNvCxnSpPr>
          <p:nvPr/>
        </p:nvCxnSpPr>
        <p:spPr>
          <a:xfrm>
            <a:off x="1717863" y="272036"/>
            <a:ext cx="2414526" cy="2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cxnSpLocks/>
          </p:cNvCxnSpPr>
          <p:nvPr/>
        </p:nvCxnSpPr>
        <p:spPr>
          <a:xfrm flipH="1" flipV="1">
            <a:off x="2299836" y="275499"/>
            <a:ext cx="797" cy="29059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 flipH="1">
            <a:off x="980273" y="2030210"/>
            <a:ext cx="9481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sp>
        <p:nvSpPr>
          <p:cNvPr id="116" name="TextBox 115"/>
          <p:cNvSpPr txBox="1"/>
          <p:nvPr/>
        </p:nvSpPr>
        <p:spPr>
          <a:xfrm flipH="1">
            <a:off x="2550644" y="1854964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wo Variables</a:t>
            </a:r>
          </a:p>
        </p:txBody>
      </p:sp>
      <p:sp>
        <p:nvSpPr>
          <p:cNvPr id="117" name="TextBox 116"/>
          <p:cNvSpPr txBox="1"/>
          <p:nvPr/>
        </p:nvSpPr>
        <p:spPr>
          <a:xfrm flipH="1">
            <a:off x="840674" y="14844"/>
            <a:ext cx="11761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Items</a:t>
            </a:r>
          </a:p>
        </p:txBody>
      </p:sp>
      <p:sp>
        <p:nvSpPr>
          <p:cNvPr id="118" name="TextBox 117"/>
          <p:cNvSpPr txBox="1"/>
          <p:nvPr/>
        </p:nvSpPr>
        <p:spPr>
          <a:xfrm flipH="1">
            <a:off x="2555600" y="37153"/>
            <a:ext cx="1144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Items</a:t>
            </a:r>
          </a:p>
        </p:txBody>
      </p:sp>
      <p:cxnSp>
        <p:nvCxnSpPr>
          <p:cNvPr id="119" name="Straight Connector 118"/>
          <p:cNvCxnSpPr>
            <a:cxnSpLocks/>
          </p:cNvCxnSpPr>
          <p:nvPr/>
        </p:nvCxnSpPr>
        <p:spPr>
          <a:xfrm flipV="1">
            <a:off x="4124947" y="279903"/>
            <a:ext cx="7442" cy="17918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>
            <a:cxnSpLocks/>
          </p:cNvCxnSpPr>
          <p:nvPr/>
        </p:nvCxnSpPr>
        <p:spPr>
          <a:xfrm>
            <a:off x="4145662" y="1175852"/>
            <a:ext cx="18819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 flipH="1">
            <a:off x="4601948" y="952988"/>
            <a:ext cx="10651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mong Items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423701" y="516820"/>
            <a:ext cx="8634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 Categories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394732" y="1357503"/>
            <a:ext cx="76991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Many Categories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5604662" y="2358957"/>
            <a:ext cx="1005840" cy="200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ARIS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250234" y="2958945"/>
            <a:ext cx="1691533" cy="9401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What would you like to show?</a:t>
            </a:r>
          </a:p>
        </p:txBody>
      </p:sp>
    </p:spTree>
    <p:extLst>
      <p:ext uri="{BB962C8B-B14F-4D97-AF65-F5344CB8AC3E}">
        <p14:creationId xmlns:p14="http://schemas.microsoft.com/office/powerpoint/2010/main" val="248795412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8ED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>
            <a:off x="6188138" y="833718"/>
            <a:ext cx="5847008" cy="5876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6852" y="833718"/>
            <a:ext cx="5847008" cy="5876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st="63500" dir="2700000" algn="tl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5836" y="268942"/>
            <a:ext cx="32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0075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ATIONSHIP </a:t>
            </a:r>
            <a:r>
              <a:rPr kumimoji="0" lang="en-US" sz="1800" b="1" i="0" u="none" strike="noStrike" kern="1200" cap="none" spc="0" normalizeH="0" baseline="0" noProof="0" dirty="0">
                <a:ln w="28575">
                  <a:noFill/>
                </a:ln>
                <a:solidFill>
                  <a:srgbClr val="8CC6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TS</a:t>
            </a:r>
            <a:endParaRPr kumimoji="0" lang="en-US" sz="1800" b="1" i="0" u="none" strike="noStrike" kern="1200" cap="none" spc="0" normalizeH="0" baseline="0" noProof="0" dirty="0">
              <a:ln w="28575">
                <a:noFill/>
              </a:ln>
              <a:solidFill>
                <a:srgbClr val="00B2B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6853" y="833718"/>
            <a:ext cx="57959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catter Char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8139" y="833718"/>
            <a:ext cx="5847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 w="28575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ubble Chart</a:t>
            </a:r>
          </a:p>
        </p:txBody>
      </p:sp>
      <p:sp>
        <p:nvSpPr>
          <p:cNvPr id="98" name="Rectangle 97">
            <a:hlinkClick r:id="" action="ppaction://noaction"/>
          </p:cNvPr>
          <p:cNvSpPr/>
          <p:nvPr/>
        </p:nvSpPr>
        <p:spPr>
          <a:xfrm>
            <a:off x="253451" y="3854069"/>
            <a:ext cx="5847008" cy="3003931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4" name="Chart 23"/>
          <p:cNvGraphicFramePr/>
          <p:nvPr/>
        </p:nvGraphicFramePr>
        <p:xfrm>
          <a:off x="392158" y="1565564"/>
          <a:ext cx="5610674" cy="4837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Chart 42"/>
          <p:cNvGraphicFramePr/>
          <p:nvPr/>
        </p:nvGraphicFramePr>
        <p:xfrm>
          <a:off x="6491634" y="1437355"/>
          <a:ext cx="5195730" cy="4965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9402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Custom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58B"/>
      </a:accent1>
      <a:accent2>
        <a:srgbClr val="8CC63E"/>
      </a:accent2>
      <a:accent3>
        <a:srgbClr val="00B2B5"/>
      </a:accent3>
      <a:accent4>
        <a:srgbClr val="A73785"/>
      </a:accent4>
      <a:accent5>
        <a:srgbClr val="F5C912"/>
      </a:accent5>
      <a:accent6>
        <a:srgbClr val="D84D2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58B"/>
      </a:accent1>
      <a:accent2>
        <a:srgbClr val="8CC63E"/>
      </a:accent2>
      <a:accent3>
        <a:srgbClr val="00B2B5"/>
      </a:accent3>
      <a:accent4>
        <a:srgbClr val="A73785"/>
      </a:accent4>
      <a:accent5>
        <a:srgbClr val="F5C912"/>
      </a:accent5>
      <a:accent6>
        <a:srgbClr val="D84D2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7</TotalTime>
  <Words>405</Words>
  <Application>Microsoft Office PowerPoint</Application>
  <PresentationFormat>Widescreen</PresentationFormat>
  <Paragraphs>167</Paragraphs>
  <Slides>19</Slides>
  <Notes>1</Notes>
  <HiddenSlides>6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Poppins Light</vt:lpstr>
      <vt:lpstr>Calibri Light</vt:lpstr>
      <vt:lpstr>Segoe UI Black</vt:lpstr>
      <vt:lpstr>Arial</vt:lpstr>
      <vt:lpstr>Poppins</vt:lpstr>
      <vt:lpstr>Calibri</vt:lpstr>
      <vt:lpstr>Wingdings</vt:lpstr>
      <vt:lpstr>Wingdings 3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hammad Tariq</dc:creator>
  <cp:lastModifiedBy>Muhammad Tariq</cp:lastModifiedBy>
  <cp:revision>247</cp:revision>
  <dcterms:created xsi:type="dcterms:W3CDTF">2021-04-12T07:45:41Z</dcterms:created>
  <dcterms:modified xsi:type="dcterms:W3CDTF">2023-12-19T03:13:46Z</dcterms:modified>
</cp:coreProperties>
</file>